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4092" r:id="rId1"/>
  </p:sldMasterIdLst>
  <p:notesMasterIdLst>
    <p:notesMasterId r:id="rId9"/>
  </p:notesMasterIdLst>
  <p:sldIdLst>
    <p:sldId id="256" r:id="rId2"/>
    <p:sldId id="274" r:id="rId3"/>
    <p:sldId id="2147482018" r:id="rId4"/>
    <p:sldId id="2147482022" r:id="rId5"/>
    <p:sldId id="275" r:id="rId6"/>
    <p:sldId id="2147482019" r:id="rId7"/>
    <p:sldId id="2147482020" r:id="rId8"/>
  </p:sldIdLst>
  <p:sldSz cx="9144000" cy="5143500" type="screen16x9"/>
  <p:notesSz cx="6858000" cy="9144000"/>
  <p:embeddedFontLst>
    <p:embeddedFont>
      <p:font typeface="Anta" panose="020B0604020202020204" charset="0"/>
      <p:regular r:id="rId10"/>
    </p:embeddedFont>
    <p:embeddedFont>
      <p:font typeface="Corbel" panose="020B0503020204020204" pitchFamily="34" charset="0"/>
      <p:regular r:id="rId11"/>
      <p:bold r:id="rId12"/>
      <p:italic r:id="rId13"/>
      <p:boldItalic r:id="rId14"/>
    </p:embeddedFont>
    <p:embeddedFont>
      <p:font typeface="Syne SemiBold" panose="020B0604020202020204" charset="0"/>
      <p:regular r:id="rId15"/>
      <p:bold r:id="rId16"/>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A903"/>
    <a:srgbClr val="CE3920"/>
    <a:srgbClr val="BA4B06"/>
    <a:srgbClr val="CCAFFF"/>
    <a:srgbClr val="E6E8FF"/>
    <a:srgbClr val="0C0819"/>
    <a:srgbClr val="22244E"/>
    <a:srgbClr val="4500F9"/>
    <a:srgbClr val="1F0F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3BB692-D058-4EED-B4EE-15F395B9D250}">
  <a:tblStyle styleId="{2D3BB692-D058-4EED-B4EE-15F395B9D250}"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E0D93E2A-2471-4160-80DB-A9BB11778C45}"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0" d="100"/>
          <a:sy n="120" d="100"/>
        </p:scale>
        <p:origin x="300" y="3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82CCBC-6E79-499A-8E32-19AABED72250}" type="doc">
      <dgm:prSet loTypeId="urn:microsoft.com/office/officeart/2011/layout/CircleProcess" loCatId="process" qsTypeId="urn:microsoft.com/office/officeart/2005/8/quickstyle/simple4" qsCatId="simple" csTypeId="urn:microsoft.com/office/officeart/2005/8/colors/accent2_2" csCatId="accent2" phldr="1"/>
      <dgm:spPr/>
      <dgm:t>
        <a:bodyPr/>
        <a:lstStyle/>
        <a:p>
          <a:endParaRPr lang="en-AE"/>
        </a:p>
      </dgm:t>
    </dgm:pt>
    <dgm:pt modelId="{3D1B3BF6-BFDF-4235-B45B-CDEC1BCE341C}">
      <dgm:prSet phldrT="[Text]" custT="1"/>
      <dgm:spPr/>
      <dgm:t>
        <a:bodyPr/>
        <a:lstStyle/>
        <a:p>
          <a:r>
            <a:rPr lang="en-US" sz="700" b="1" dirty="0"/>
            <a:t>Plugging </a:t>
          </a:r>
          <a:r>
            <a:rPr lang="en-US" sz="1010" b="1" baseline="0" dirty="0"/>
            <a:t>existing</a:t>
          </a:r>
          <a:r>
            <a:rPr lang="en-US" sz="700" b="1" dirty="0"/>
            <a:t> VAT leakages</a:t>
          </a:r>
          <a:endParaRPr lang="en-AE" sz="700" b="1" dirty="0"/>
        </a:p>
      </dgm:t>
    </dgm:pt>
    <dgm:pt modelId="{4081DF5A-52DD-4C0D-A808-48FF2604836E}" type="parTrans" cxnId="{4C8F7D7B-BC2C-4F18-A6D3-F4AD0F9894A0}">
      <dgm:prSet/>
      <dgm:spPr/>
      <dgm:t>
        <a:bodyPr/>
        <a:lstStyle/>
        <a:p>
          <a:endParaRPr lang="en-AE" sz="2000"/>
        </a:p>
      </dgm:t>
    </dgm:pt>
    <dgm:pt modelId="{CCBB909B-A391-49D2-83EC-83E8171DCF52}" type="sibTrans" cxnId="{4C8F7D7B-BC2C-4F18-A6D3-F4AD0F9894A0}">
      <dgm:prSet/>
      <dgm:spPr/>
      <dgm:t>
        <a:bodyPr/>
        <a:lstStyle/>
        <a:p>
          <a:endParaRPr lang="en-AE"/>
        </a:p>
      </dgm:t>
    </dgm:pt>
    <dgm:pt modelId="{1C0580BB-6FD1-43F3-B094-C96853DD8A99}">
      <dgm:prSet phldrT="[Text]" custT="1"/>
      <dgm:spPr/>
      <dgm:t>
        <a:bodyPr/>
        <a:lstStyle/>
        <a:p>
          <a:r>
            <a:rPr lang="en-US" sz="700" b="1" dirty="0"/>
            <a:t>Use case </a:t>
          </a:r>
          <a:r>
            <a:rPr lang="en-US" sz="1050" b="1" baseline="0" dirty="0"/>
            <a:t>transaction</a:t>
          </a:r>
          <a:r>
            <a:rPr lang="en-US" sz="700" b="1" dirty="0"/>
            <a:t> wise mapping</a:t>
          </a:r>
          <a:endParaRPr lang="en-AE" sz="700" b="1" dirty="0"/>
        </a:p>
      </dgm:t>
    </dgm:pt>
    <dgm:pt modelId="{99A5AAC7-DE2D-4402-9242-6A491ED159CB}" type="parTrans" cxnId="{C46FACB1-EB3A-4518-A801-15507E2F81D3}">
      <dgm:prSet/>
      <dgm:spPr/>
      <dgm:t>
        <a:bodyPr/>
        <a:lstStyle/>
        <a:p>
          <a:endParaRPr lang="en-AE" sz="2000"/>
        </a:p>
      </dgm:t>
    </dgm:pt>
    <dgm:pt modelId="{E934C023-CFA4-4E5F-9BC6-3AA42AB31B0E}" type="sibTrans" cxnId="{C46FACB1-EB3A-4518-A801-15507E2F81D3}">
      <dgm:prSet/>
      <dgm:spPr/>
      <dgm:t>
        <a:bodyPr/>
        <a:lstStyle/>
        <a:p>
          <a:endParaRPr lang="en-AE"/>
        </a:p>
      </dgm:t>
    </dgm:pt>
    <dgm:pt modelId="{C377A939-6368-40F4-B39F-69B42440C198}">
      <dgm:prSet phldrT="[Text]"/>
      <dgm:spPr>
        <a:noFill/>
      </dgm:spPr>
      <dgm:t>
        <a:bodyPr/>
        <a:lstStyle/>
        <a:p>
          <a:r>
            <a:rPr lang="en-US" b="1" dirty="0">
              <a:solidFill>
                <a:schemeClr val="bg1"/>
              </a:solidFill>
            </a:rPr>
            <a:t>Step 2: ASP Selection assistance</a:t>
          </a:r>
          <a:endParaRPr lang="en-AE" b="1" dirty="0">
            <a:solidFill>
              <a:schemeClr val="bg1"/>
            </a:solidFill>
          </a:endParaRPr>
        </a:p>
      </dgm:t>
    </dgm:pt>
    <dgm:pt modelId="{1AE87072-4309-4FD4-9211-615A2CED9D56}" type="parTrans" cxnId="{036A661B-1F8E-4334-92C9-68AA01AC13F1}">
      <dgm:prSet/>
      <dgm:spPr/>
      <dgm:t>
        <a:bodyPr/>
        <a:lstStyle/>
        <a:p>
          <a:endParaRPr lang="en-AE" sz="2000"/>
        </a:p>
      </dgm:t>
    </dgm:pt>
    <dgm:pt modelId="{10ECECE5-F599-40AC-82DB-75769306C8CE}" type="sibTrans" cxnId="{036A661B-1F8E-4334-92C9-68AA01AC13F1}">
      <dgm:prSet/>
      <dgm:spPr/>
      <dgm:t>
        <a:bodyPr/>
        <a:lstStyle/>
        <a:p>
          <a:endParaRPr lang="en-AE"/>
        </a:p>
      </dgm:t>
    </dgm:pt>
    <dgm:pt modelId="{9EA513A0-0466-49BC-8C0C-AD364601235A}">
      <dgm:prSet phldrT="[Text]"/>
      <dgm:spPr/>
      <dgm:t>
        <a:bodyPr/>
        <a:lstStyle/>
        <a:p>
          <a:r>
            <a:rPr lang="en-US" sz="700" b="1"/>
            <a:t>Conducting demos with the shortlisted ASPs</a:t>
          </a:r>
          <a:endParaRPr lang="en-AE" sz="700" b="1"/>
        </a:p>
      </dgm:t>
    </dgm:pt>
    <dgm:pt modelId="{3B02653C-3A4F-499F-A44E-736C1599C2D5}" type="parTrans" cxnId="{7E898C9D-8697-4E7D-8EE5-EDF987841EBD}">
      <dgm:prSet/>
      <dgm:spPr/>
      <dgm:t>
        <a:bodyPr/>
        <a:lstStyle/>
        <a:p>
          <a:endParaRPr lang="en-AE" sz="2000"/>
        </a:p>
      </dgm:t>
    </dgm:pt>
    <dgm:pt modelId="{D4CC7A53-7295-45F9-9649-D71E215F75D8}" type="sibTrans" cxnId="{7E898C9D-8697-4E7D-8EE5-EDF987841EBD}">
      <dgm:prSet/>
      <dgm:spPr/>
      <dgm:t>
        <a:bodyPr/>
        <a:lstStyle/>
        <a:p>
          <a:endParaRPr lang="en-AE"/>
        </a:p>
      </dgm:t>
    </dgm:pt>
    <dgm:pt modelId="{512C91A1-BA55-4C90-A85D-C894D5DD0468}">
      <dgm:prSet phldrT="[Text]" custT="1"/>
      <dgm:spPr/>
      <dgm:t>
        <a:bodyPr/>
        <a:lstStyle/>
        <a:p>
          <a:r>
            <a:rPr lang="en-US" sz="700" b="1" dirty="0"/>
            <a:t>Assisting with </a:t>
          </a:r>
          <a:r>
            <a:rPr lang="en-US" sz="1050" b="1" dirty="0"/>
            <a:t>finalizing</a:t>
          </a:r>
          <a:r>
            <a:rPr lang="en-US" sz="700" b="1" dirty="0"/>
            <a:t> the right ASP for the company</a:t>
          </a:r>
          <a:endParaRPr lang="en-AE" sz="700" b="1" dirty="0"/>
        </a:p>
      </dgm:t>
    </dgm:pt>
    <dgm:pt modelId="{819536EB-7717-42BB-A8BA-3D558F3F4914}" type="parTrans" cxnId="{561E8B29-561C-4162-8FFB-94F8D33EBB3B}">
      <dgm:prSet/>
      <dgm:spPr/>
      <dgm:t>
        <a:bodyPr/>
        <a:lstStyle/>
        <a:p>
          <a:endParaRPr lang="en-AE" sz="2000"/>
        </a:p>
      </dgm:t>
    </dgm:pt>
    <dgm:pt modelId="{8643F636-1D8F-40C8-850A-2EEF53AA9494}" type="sibTrans" cxnId="{561E8B29-561C-4162-8FFB-94F8D33EBB3B}">
      <dgm:prSet/>
      <dgm:spPr/>
      <dgm:t>
        <a:bodyPr/>
        <a:lstStyle/>
        <a:p>
          <a:endParaRPr lang="en-AE"/>
        </a:p>
      </dgm:t>
    </dgm:pt>
    <dgm:pt modelId="{46E3B94A-8F6C-486E-BA8D-C6C00EBE9AC5}">
      <dgm:prSet phldrT="[Text]"/>
      <dgm:spPr>
        <a:solidFill>
          <a:schemeClr val="accent1"/>
        </a:solidFill>
      </dgm:spPr>
      <dgm:t>
        <a:bodyPr/>
        <a:lstStyle/>
        <a:p>
          <a:r>
            <a:rPr lang="en-US" b="1" dirty="0">
              <a:solidFill>
                <a:schemeClr val="bg1"/>
              </a:solidFill>
            </a:rPr>
            <a:t>Step 3: ERP Gap Assessment</a:t>
          </a:r>
          <a:endParaRPr lang="en-AE" b="1" dirty="0">
            <a:solidFill>
              <a:schemeClr val="bg1"/>
            </a:solidFill>
          </a:endParaRPr>
        </a:p>
      </dgm:t>
    </dgm:pt>
    <dgm:pt modelId="{89E9298B-F6B2-4EA4-9F3E-A0D96D1C20D3}" type="parTrans" cxnId="{6AD76BD4-601A-4256-AA69-FAFC0653C186}">
      <dgm:prSet/>
      <dgm:spPr/>
      <dgm:t>
        <a:bodyPr/>
        <a:lstStyle/>
        <a:p>
          <a:endParaRPr lang="en-AE" sz="2000"/>
        </a:p>
      </dgm:t>
    </dgm:pt>
    <dgm:pt modelId="{E73DDCAC-0693-4473-BD5B-EC7A8F3A3874}" type="sibTrans" cxnId="{6AD76BD4-601A-4256-AA69-FAFC0653C186}">
      <dgm:prSet/>
      <dgm:spPr/>
      <dgm:t>
        <a:bodyPr/>
        <a:lstStyle/>
        <a:p>
          <a:endParaRPr lang="en-AE"/>
        </a:p>
      </dgm:t>
    </dgm:pt>
    <dgm:pt modelId="{BD410FD1-3175-4497-8D7E-014957A776CE}">
      <dgm:prSet phldrT="[Text]"/>
      <dgm:spPr>
        <a:solidFill>
          <a:schemeClr val="accent1"/>
        </a:solidFill>
      </dgm:spPr>
      <dgm:t>
        <a:bodyPr/>
        <a:lstStyle/>
        <a:p>
          <a:r>
            <a:rPr lang="en-US" b="1" dirty="0">
              <a:solidFill>
                <a:schemeClr val="bg1"/>
              </a:solidFill>
            </a:rPr>
            <a:t>Step 1: Tax Impact Assessment</a:t>
          </a:r>
          <a:endParaRPr lang="en-AE" b="1" dirty="0">
            <a:solidFill>
              <a:schemeClr val="bg1"/>
            </a:solidFill>
          </a:endParaRPr>
        </a:p>
      </dgm:t>
    </dgm:pt>
    <dgm:pt modelId="{B0780442-E769-4252-9C79-588ADBF4BFFD}" type="parTrans" cxnId="{BD7168D9-E4DD-462B-8CE7-4F4648EDA438}">
      <dgm:prSet/>
      <dgm:spPr/>
      <dgm:t>
        <a:bodyPr/>
        <a:lstStyle/>
        <a:p>
          <a:endParaRPr lang="en-AE" sz="2000"/>
        </a:p>
      </dgm:t>
    </dgm:pt>
    <dgm:pt modelId="{3141DE70-7B6D-4453-A966-91FCA9C49E2E}" type="sibTrans" cxnId="{BD7168D9-E4DD-462B-8CE7-4F4648EDA438}">
      <dgm:prSet/>
      <dgm:spPr/>
      <dgm:t>
        <a:bodyPr/>
        <a:lstStyle/>
        <a:p>
          <a:endParaRPr lang="en-AE"/>
        </a:p>
      </dgm:t>
    </dgm:pt>
    <dgm:pt modelId="{25410D4D-3C54-430D-A489-C739555002D9}">
      <dgm:prSet phldrT="[Text]"/>
      <dgm:spPr>
        <a:solidFill>
          <a:schemeClr val="accent1"/>
        </a:solidFill>
      </dgm:spPr>
      <dgm:t>
        <a:bodyPr/>
        <a:lstStyle/>
        <a:p>
          <a:r>
            <a:rPr lang="en-US" b="1" dirty="0">
              <a:solidFill>
                <a:schemeClr val="bg1"/>
              </a:solidFill>
            </a:rPr>
            <a:t>Step 4: Integration &amp; Testing</a:t>
          </a:r>
          <a:endParaRPr lang="en-AE" b="1" dirty="0">
            <a:solidFill>
              <a:schemeClr val="bg1"/>
            </a:solidFill>
          </a:endParaRPr>
        </a:p>
      </dgm:t>
    </dgm:pt>
    <dgm:pt modelId="{492DE3A1-4288-4961-83A5-2633306BCE21}" type="parTrans" cxnId="{E668B8A2-0DA5-4EC7-9CE9-0328E7EE10F7}">
      <dgm:prSet/>
      <dgm:spPr/>
      <dgm:t>
        <a:bodyPr/>
        <a:lstStyle/>
        <a:p>
          <a:endParaRPr lang="en-AE" sz="2000"/>
        </a:p>
      </dgm:t>
    </dgm:pt>
    <dgm:pt modelId="{50F5B56E-82DD-4733-B317-5C743658E4D3}" type="sibTrans" cxnId="{E668B8A2-0DA5-4EC7-9CE9-0328E7EE10F7}">
      <dgm:prSet/>
      <dgm:spPr/>
      <dgm:t>
        <a:bodyPr/>
        <a:lstStyle/>
        <a:p>
          <a:endParaRPr lang="en-AE"/>
        </a:p>
      </dgm:t>
    </dgm:pt>
    <dgm:pt modelId="{197E6860-17A9-4801-9E28-30BE82C494C0}">
      <dgm:prSet phldrT="[Text]"/>
      <dgm:spPr>
        <a:solidFill>
          <a:schemeClr val="accent1"/>
        </a:solidFill>
      </dgm:spPr>
      <dgm:t>
        <a:bodyPr/>
        <a:lstStyle/>
        <a:p>
          <a:r>
            <a:rPr lang="en-US" b="1" dirty="0">
              <a:solidFill>
                <a:schemeClr val="bg1"/>
              </a:solidFill>
            </a:rPr>
            <a:t>Step 5: Implementation and Go-Live support</a:t>
          </a:r>
          <a:endParaRPr lang="en-AE" b="1" dirty="0">
            <a:solidFill>
              <a:schemeClr val="bg1"/>
            </a:solidFill>
          </a:endParaRPr>
        </a:p>
      </dgm:t>
    </dgm:pt>
    <dgm:pt modelId="{9017FD1B-E585-42E0-9DC1-88EFB673F36B}" type="parTrans" cxnId="{2E1C0E43-37DE-4796-A24B-AD374B870462}">
      <dgm:prSet/>
      <dgm:spPr/>
      <dgm:t>
        <a:bodyPr/>
        <a:lstStyle/>
        <a:p>
          <a:endParaRPr lang="en-AE" sz="2000"/>
        </a:p>
      </dgm:t>
    </dgm:pt>
    <dgm:pt modelId="{A01DBFAB-EAAE-4425-86FE-4FD5C3B8F7A2}" type="sibTrans" cxnId="{2E1C0E43-37DE-4796-A24B-AD374B870462}">
      <dgm:prSet/>
      <dgm:spPr/>
      <dgm:t>
        <a:bodyPr/>
        <a:lstStyle/>
        <a:p>
          <a:endParaRPr lang="en-AE"/>
        </a:p>
      </dgm:t>
    </dgm:pt>
    <dgm:pt modelId="{25A1CC65-65BC-42F9-8BFE-8AD1B8D00FAF}">
      <dgm:prSet phldrT="[Text]" custT="1"/>
      <dgm:spPr/>
      <dgm:t>
        <a:bodyPr/>
        <a:lstStyle/>
        <a:p>
          <a:r>
            <a:rPr kumimoji="0" lang="en-GB" sz="700" b="1" i="0" u="none" strike="noStrike" cap="none" spc="0" normalizeH="0" baseline="0" noProof="0" dirty="0">
              <a:effectLst/>
              <a:uLnTx/>
              <a:uFillTx/>
              <a:latin typeface="Arial"/>
              <a:ea typeface="+mn-ea"/>
              <a:cs typeface="+mn-cs"/>
            </a:rPr>
            <a:t>This would include undertaking a gap analysis between the existing data fields in the ERP </a:t>
          </a:r>
          <a:r>
            <a:rPr kumimoji="0" lang="en-GB" sz="1050" b="1" i="0" u="none" strike="noStrike" cap="none" spc="0" normalizeH="0" baseline="0" noProof="0" dirty="0">
              <a:effectLst/>
              <a:uLnTx/>
              <a:uFillTx/>
              <a:latin typeface="Arial"/>
              <a:ea typeface="+mn-ea"/>
              <a:cs typeface="+mn-cs"/>
            </a:rPr>
            <a:t>vis-à-vis</a:t>
          </a:r>
          <a:r>
            <a:rPr kumimoji="0" lang="en-GB" sz="700" b="1" i="0" u="none" strike="noStrike" cap="none" spc="0" normalizeH="0" baseline="0" noProof="0" dirty="0">
              <a:effectLst/>
              <a:uLnTx/>
              <a:uFillTx/>
              <a:latin typeface="Arial"/>
              <a:ea typeface="+mn-ea"/>
              <a:cs typeface="+mn-cs"/>
            </a:rPr>
            <a:t> the e-invoicing PINT-AE</a:t>
          </a:r>
          <a:endParaRPr lang="en-AE" sz="700" b="1" dirty="0"/>
        </a:p>
      </dgm:t>
    </dgm:pt>
    <dgm:pt modelId="{DAB1AFC9-BA1F-421B-AFE9-D8A9E8F3169F}" type="parTrans" cxnId="{1DCF2B22-5049-40F3-BC23-C7C2735CFBCF}">
      <dgm:prSet/>
      <dgm:spPr/>
      <dgm:t>
        <a:bodyPr/>
        <a:lstStyle/>
        <a:p>
          <a:endParaRPr lang="en-AE" sz="2000"/>
        </a:p>
      </dgm:t>
    </dgm:pt>
    <dgm:pt modelId="{826B7E9C-F66B-4E99-9903-E5878761ADB7}" type="sibTrans" cxnId="{1DCF2B22-5049-40F3-BC23-C7C2735CFBCF}">
      <dgm:prSet/>
      <dgm:spPr/>
      <dgm:t>
        <a:bodyPr/>
        <a:lstStyle/>
        <a:p>
          <a:endParaRPr lang="en-AE"/>
        </a:p>
      </dgm:t>
    </dgm:pt>
    <dgm:pt modelId="{72750B21-7CFC-4FBA-B3F0-E291CB297252}">
      <dgm:prSet phldrT="[Text]"/>
      <dgm:spPr/>
      <dgm:t>
        <a:bodyPr/>
        <a:lstStyle/>
        <a:p>
          <a:endParaRPr lang="en-AE" sz="700"/>
        </a:p>
      </dgm:t>
    </dgm:pt>
    <dgm:pt modelId="{5E78F976-A1FA-41E0-9AD5-243E721953E4}" type="parTrans" cxnId="{A7E9222D-A5F4-48DF-9C94-61D8CB4EFE4B}">
      <dgm:prSet/>
      <dgm:spPr/>
      <dgm:t>
        <a:bodyPr/>
        <a:lstStyle/>
        <a:p>
          <a:endParaRPr lang="en-AE" sz="2000"/>
        </a:p>
      </dgm:t>
    </dgm:pt>
    <dgm:pt modelId="{DD398DCF-43F6-49FE-BB81-98CBC4DC35B5}" type="sibTrans" cxnId="{A7E9222D-A5F4-48DF-9C94-61D8CB4EFE4B}">
      <dgm:prSet/>
      <dgm:spPr/>
      <dgm:t>
        <a:bodyPr/>
        <a:lstStyle/>
        <a:p>
          <a:endParaRPr lang="en-AE"/>
        </a:p>
      </dgm:t>
    </dgm:pt>
    <dgm:pt modelId="{BF44C651-0A16-441D-86D8-25201D7A7DF9}">
      <dgm:prSet custT="1"/>
      <dgm:spPr/>
      <dgm:t>
        <a:bodyPr/>
        <a:lstStyle/>
        <a:p>
          <a:r>
            <a:rPr lang="en-US" sz="700" b="1" dirty="0"/>
            <a:t>I</a:t>
          </a:r>
          <a:r>
            <a:rPr kumimoji="0" lang="en-GB" sz="700" b="1" i="0" u="none" strike="noStrike" cap="none" spc="0" normalizeH="0" baseline="0" noProof="0" dirty="0">
              <a:effectLst/>
              <a:uLnTx/>
              <a:uFillTx/>
              <a:latin typeface="Arial"/>
              <a:ea typeface="+mn-ea"/>
              <a:cs typeface="+mn-cs"/>
            </a:rPr>
            <a:t>identify gaps in data model and route to </a:t>
          </a:r>
          <a:r>
            <a:rPr kumimoji="0" lang="en-GB" sz="1050" b="1" i="0" u="none" strike="noStrike" cap="none" spc="0" normalizeH="0" baseline="0" noProof="0" dirty="0">
              <a:effectLst/>
              <a:uLnTx/>
              <a:uFillTx/>
              <a:latin typeface="Arial"/>
              <a:ea typeface="+mn-ea"/>
              <a:cs typeface="+mn-cs"/>
            </a:rPr>
            <a:t>remediation</a:t>
          </a:r>
          <a:r>
            <a:rPr kumimoji="0" lang="en-GB" sz="700" b="1" i="0" u="none" strike="noStrike" cap="none" spc="0" normalizeH="0" baseline="0" noProof="0" dirty="0">
              <a:effectLst/>
              <a:uLnTx/>
              <a:uFillTx/>
              <a:latin typeface="Arial"/>
              <a:ea typeface="+mn-ea"/>
              <a:cs typeface="+mn-cs"/>
            </a:rPr>
            <a:t>. </a:t>
          </a:r>
          <a:endParaRPr lang="en-AE" sz="700" b="1" dirty="0"/>
        </a:p>
      </dgm:t>
    </dgm:pt>
    <dgm:pt modelId="{5ECEF637-4B01-4797-88A9-6824ED58C610}" type="parTrans" cxnId="{A9443200-E41E-4292-AA45-72FE442C9735}">
      <dgm:prSet/>
      <dgm:spPr/>
      <dgm:t>
        <a:bodyPr/>
        <a:lstStyle/>
        <a:p>
          <a:endParaRPr lang="en-AE"/>
        </a:p>
      </dgm:t>
    </dgm:pt>
    <dgm:pt modelId="{0610F9E0-0EF9-4DFE-ABD4-FD7DFA9A997E}" type="sibTrans" cxnId="{A9443200-E41E-4292-AA45-72FE442C9735}">
      <dgm:prSet/>
      <dgm:spPr/>
      <dgm:t>
        <a:bodyPr/>
        <a:lstStyle/>
        <a:p>
          <a:endParaRPr lang="en-AE"/>
        </a:p>
      </dgm:t>
    </dgm:pt>
    <dgm:pt modelId="{1C253E70-2A9A-4977-A442-D350237C9B51}">
      <dgm:prSet phldrT="[Text]" custT="1"/>
      <dgm:spPr/>
      <dgm:t>
        <a:bodyPr/>
        <a:lstStyle/>
        <a:p>
          <a:r>
            <a:rPr lang="en-US" sz="800" b="1" dirty="0"/>
            <a:t>Constant support from go-live date </a:t>
          </a:r>
          <a:r>
            <a:rPr lang="en-US" sz="1050" b="1" baseline="0" dirty="0"/>
            <a:t>until</a:t>
          </a:r>
          <a:r>
            <a:rPr lang="en-US" sz="800" b="1" dirty="0"/>
            <a:t> the filing of first VAT return</a:t>
          </a:r>
          <a:r>
            <a:rPr lang="en-US" sz="800" b="0" dirty="0"/>
            <a:t>.</a:t>
          </a:r>
          <a:endParaRPr lang="en-AE" sz="800" b="0" dirty="0"/>
        </a:p>
      </dgm:t>
    </dgm:pt>
    <dgm:pt modelId="{728D34F0-0D65-44F2-AFAD-1E31D62D0F83}" type="parTrans" cxnId="{D2AAF5D5-6269-45BB-BA70-FB597B0652FD}">
      <dgm:prSet/>
      <dgm:spPr/>
      <dgm:t>
        <a:bodyPr/>
        <a:lstStyle/>
        <a:p>
          <a:endParaRPr lang="en-AE"/>
        </a:p>
      </dgm:t>
    </dgm:pt>
    <dgm:pt modelId="{3DBE1A1A-3D84-4788-ACFC-84DFED75EA28}" type="sibTrans" cxnId="{D2AAF5D5-6269-45BB-BA70-FB597B0652FD}">
      <dgm:prSet/>
      <dgm:spPr/>
      <dgm:t>
        <a:bodyPr/>
        <a:lstStyle/>
        <a:p>
          <a:endParaRPr lang="en-AE"/>
        </a:p>
      </dgm:t>
    </dgm:pt>
    <dgm:pt modelId="{30A0F47E-4EED-4791-9410-A39C3D653168}">
      <dgm:prSet/>
      <dgm:spPr/>
      <dgm:t>
        <a:bodyPr/>
        <a:lstStyle/>
        <a:p>
          <a:r>
            <a:rPr kumimoji="0" lang="en-GB" sz="700" b="1" i="0" u="none" strike="noStrike" cap="none" spc="0" normalizeH="0" baseline="0" noProof="0" dirty="0">
              <a:effectLst/>
              <a:uLnTx/>
              <a:uFillTx/>
              <a:latin typeface="Arial"/>
              <a:ea typeface="+mn-ea"/>
              <a:cs typeface="+mn-cs"/>
            </a:rPr>
            <a:t>Deploy local processes and technology solutions to enable compliance by go-live date.</a:t>
          </a:r>
          <a:endParaRPr lang="en-AE" sz="700" b="1" dirty="0"/>
        </a:p>
      </dgm:t>
    </dgm:pt>
    <dgm:pt modelId="{EB8F0F62-3A9E-4E3E-8B68-DDB2F45D3815}" type="parTrans" cxnId="{D706A04C-D3A2-4E8C-ADF3-022BC779FA39}">
      <dgm:prSet/>
      <dgm:spPr/>
      <dgm:t>
        <a:bodyPr/>
        <a:lstStyle/>
        <a:p>
          <a:endParaRPr lang="en-AE"/>
        </a:p>
      </dgm:t>
    </dgm:pt>
    <dgm:pt modelId="{820176CF-78A6-4B1F-954B-89649B3C8B5C}" type="sibTrans" cxnId="{D706A04C-D3A2-4E8C-ADF3-022BC779FA39}">
      <dgm:prSet/>
      <dgm:spPr/>
      <dgm:t>
        <a:bodyPr/>
        <a:lstStyle/>
        <a:p>
          <a:endParaRPr lang="en-AE"/>
        </a:p>
      </dgm:t>
    </dgm:pt>
    <dgm:pt modelId="{F58A7852-0233-4690-B873-77DBC839E6D7}" type="pres">
      <dgm:prSet presAssocID="{1882CCBC-6E79-499A-8E32-19AABED72250}" presName="Name0" presStyleCnt="0">
        <dgm:presLayoutVars>
          <dgm:chMax val="11"/>
          <dgm:chPref val="11"/>
          <dgm:dir/>
          <dgm:resizeHandles/>
        </dgm:presLayoutVars>
      </dgm:prSet>
      <dgm:spPr/>
    </dgm:pt>
    <dgm:pt modelId="{F56A7913-D48A-42CC-8D93-189F2C25E7B5}" type="pres">
      <dgm:prSet presAssocID="{197E6860-17A9-4801-9E28-30BE82C494C0}" presName="Accent5" presStyleCnt="0"/>
      <dgm:spPr/>
    </dgm:pt>
    <dgm:pt modelId="{B9E709F8-AA30-4F7D-B84D-E349F88E3C79}" type="pres">
      <dgm:prSet presAssocID="{197E6860-17A9-4801-9E28-30BE82C494C0}" presName="Accent" presStyleLbl="node1" presStyleIdx="0" presStyleCnt="5"/>
      <dgm:spPr/>
    </dgm:pt>
    <dgm:pt modelId="{D2169D95-7D22-4403-B314-26ED3C4EB541}" type="pres">
      <dgm:prSet presAssocID="{197E6860-17A9-4801-9E28-30BE82C494C0}" presName="ParentBackground5" presStyleCnt="0"/>
      <dgm:spPr/>
    </dgm:pt>
    <dgm:pt modelId="{283A4286-2605-461B-8BE9-933DB3CB3B85}" type="pres">
      <dgm:prSet presAssocID="{197E6860-17A9-4801-9E28-30BE82C494C0}" presName="ParentBackground" presStyleLbl="fgAcc1" presStyleIdx="0" presStyleCnt="5"/>
      <dgm:spPr/>
    </dgm:pt>
    <dgm:pt modelId="{C9B8CD0C-61DB-4235-8699-6D83B22DDBA0}" type="pres">
      <dgm:prSet presAssocID="{197E6860-17A9-4801-9E28-30BE82C494C0}" presName="Child5" presStyleLbl="revTx" presStyleIdx="0" presStyleCnt="5">
        <dgm:presLayoutVars>
          <dgm:chMax val="0"/>
          <dgm:chPref val="0"/>
          <dgm:bulletEnabled val="1"/>
        </dgm:presLayoutVars>
      </dgm:prSet>
      <dgm:spPr/>
    </dgm:pt>
    <dgm:pt modelId="{D9F90709-D2B6-4AE9-9485-2FC33C2BB379}" type="pres">
      <dgm:prSet presAssocID="{197E6860-17A9-4801-9E28-30BE82C494C0}" presName="Parent5" presStyleLbl="revTx" presStyleIdx="0" presStyleCnt="5">
        <dgm:presLayoutVars>
          <dgm:chMax val="1"/>
          <dgm:chPref val="1"/>
          <dgm:bulletEnabled val="1"/>
        </dgm:presLayoutVars>
      </dgm:prSet>
      <dgm:spPr/>
    </dgm:pt>
    <dgm:pt modelId="{638AB959-E2C0-4E05-82AE-E620A563FE90}" type="pres">
      <dgm:prSet presAssocID="{25410D4D-3C54-430D-A489-C739555002D9}" presName="Accent4" presStyleCnt="0"/>
      <dgm:spPr/>
    </dgm:pt>
    <dgm:pt modelId="{6BE3A528-113F-482E-80A8-035CE974F555}" type="pres">
      <dgm:prSet presAssocID="{25410D4D-3C54-430D-A489-C739555002D9}" presName="Accent" presStyleLbl="node1" presStyleIdx="1" presStyleCnt="5"/>
      <dgm:spPr/>
    </dgm:pt>
    <dgm:pt modelId="{1FAECD8F-28E8-4066-A278-5F81AB7A37E0}" type="pres">
      <dgm:prSet presAssocID="{25410D4D-3C54-430D-A489-C739555002D9}" presName="ParentBackground4" presStyleCnt="0"/>
      <dgm:spPr/>
    </dgm:pt>
    <dgm:pt modelId="{E4C31B22-449A-46BD-BADD-C96B59A16C69}" type="pres">
      <dgm:prSet presAssocID="{25410D4D-3C54-430D-A489-C739555002D9}" presName="ParentBackground" presStyleLbl="fgAcc1" presStyleIdx="1" presStyleCnt="5" custLinFactNeighborX="1681"/>
      <dgm:spPr/>
    </dgm:pt>
    <dgm:pt modelId="{794C41C4-000E-4566-BA68-C6560F8D6E5F}" type="pres">
      <dgm:prSet presAssocID="{25410D4D-3C54-430D-A489-C739555002D9}" presName="Child4" presStyleLbl="revTx" presStyleIdx="1" presStyleCnt="5">
        <dgm:presLayoutVars>
          <dgm:chMax val="0"/>
          <dgm:chPref val="0"/>
          <dgm:bulletEnabled val="1"/>
        </dgm:presLayoutVars>
      </dgm:prSet>
      <dgm:spPr/>
    </dgm:pt>
    <dgm:pt modelId="{3EC47B4C-F3E5-451A-AD44-F75D798D280B}" type="pres">
      <dgm:prSet presAssocID="{25410D4D-3C54-430D-A489-C739555002D9}" presName="Parent4" presStyleLbl="revTx" presStyleIdx="1" presStyleCnt="5">
        <dgm:presLayoutVars>
          <dgm:chMax val="1"/>
          <dgm:chPref val="1"/>
          <dgm:bulletEnabled val="1"/>
        </dgm:presLayoutVars>
      </dgm:prSet>
      <dgm:spPr/>
    </dgm:pt>
    <dgm:pt modelId="{769B0046-2635-4F90-900F-ACD6461BD5A9}" type="pres">
      <dgm:prSet presAssocID="{46E3B94A-8F6C-486E-BA8D-C6C00EBE9AC5}" presName="Accent3" presStyleCnt="0"/>
      <dgm:spPr/>
    </dgm:pt>
    <dgm:pt modelId="{A7588864-E961-460B-99AC-678C1AF4EBC7}" type="pres">
      <dgm:prSet presAssocID="{46E3B94A-8F6C-486E-BA8D-C6C00EBE9AC5}" presName="Accent" presStyleLbl="node1" presStyleIdx="2" presStyleCnt="5"/>
      <dgm:spPr/>
    </dgm:pt>
    <dgm:pt modelId="{57E5387F-C4A1-4FE1-9108-9B83366C57A4}" type="pres">
      <dgm:prSet presAssocID="{46E3B94A-8F6C-486E-BA8D-C6C00EBE9AC5}" presName="ParentBackground3" presStyleCnt="0"/>
      <dgm:spPr/>
    </dgm:pt>
    <dgm:pt modelId="{E2C95BF8-AF96-44F8-8D3A-B7E0535EB101}" type="pres">
      <dgm:prSet presAssocID="{46E3B94A-8F6C-486E-BA8D-C6C00EBE9AC5}" presName="ParentBackground" presStyleLbl="fgAcc1" presStyleIdx="2" presStyleCnt="5"/>
      <dgm:spPr/>
    </dgm:pt>
    <dgm:pt modelId="{A095674F-C462-4C1C-BF30-E8F572AE411C}" type="pres">
      <dgm:prSet presAssocID="{46E3B94A-8F6C-486E-BA8D-C6C00EBE9AC5}" presName="Child3" presStyleLbl="revTx" presStyleIdx="2" presStyleCnt="5">
        <dgm:presLayoutVars>
          <dgm:chMax val="0"/>
          <dgm:chPref val="0"/>
          <dgm:bulletEnabled val="1"/>
        </dgm:presLayoutVars>
      </dgm:prSet>
      <dgm:spPr/>
    </dgm:pt>
    <dgm:pt modelId="{037B99FA-5B56-40B1-AC15-D8D98B872BEB}" type="pres">
      <dgm:prSet presAssocID="{46E3B94A-8F6C-486E-BA8D-C6C00EBE9AC5}" presName="Parent3" presStyleLbl="revTx" presStyleIdx="2" presStyleCnt="5">
        <dgm:presLayoutVars>
          <dgm:chMax val="1"/>
          <dgm:chPref val="1"/>
          <dgm:bulletEnabled val="1"/>
        </dgm:presLayoutVars>
      </dgm:prSet>
      <dgm:spPr/>
    </dgm:pt>
    <dgm:pt modelId="{CB0B2B14-B163-4AA1-AD26-7B7EC6DD80D3}" type="pres">
      <dgm:prSet presAssocID="{C377A939-6368-40F4-B39F-69B42440C198}" presName="Accent2" presStyleCnt="0"/>
      <dgm:spPr/>
    </dgm:pt>
    <dgm:pt modelId="{B3C6B417-8C7E-4C99-B958-2605C620C27C}" type="pres">
      <dgm:prSet presAssocID="{C377A939-6368-40F4-B39F-69B42440C198}" presName="Accent" presStyleLbl="node1" presStyleIdx="3" presStyleCnt="5"/>
      <dgm:spPr>
        <a:solidFill>
          <a:schemeClr val="accent1"/>
        </a:solidFill>
      </dgm:spPr>
    </dgm:pt>
    <dgm:pt modelId="{FF770CF6-D78C-43B0-94BB-594738D774BF}" type="pres">
      <dgm:prSet presAssocID="{C377A939-6368-40F4-B39F-69B42440C198}" presName="ParentBackground2" presStyleCnt="0"/>
      <dgm:spPr/>
    </dgm:pt>
    <dgm:pt modelId="{E5984CCE-F4FF-4B3E-8269-F2199DA98C2C}" type="pres">
      <dgm:prSet presAssocID="{C377A939-6368-40F4-B39F-69B42440C198}" presName="ParentBackground" presStyleLbl="fgAcc1" presStyleIdx="3" presStyleCnt="5"/>
      <dgm:spPr/>
    </dgm:pt>
    <dgm:pt modelId="{332441A8-C79B-4F72-B6F2-1628667DAF7F}" type="pres">
      <dgm:prSet presAssocID="{C377A939-6368-40F4-B39F-69B42440C198}" presName="Child2" presStyleLbl="revTx" presStyleIdx="3" presStyleCnt="5">
        <dgm:presLayoutVars>
          <dgm:chMax val="0"/>
          <dgm:chPref val="0"/>
          <dgm:bulletEnabled val="1"/>
        </dgm:presLayoutVars>
      </dgm:prSet>
      <dgm:spPr/>
    </dgm:pt>
    <dgm:pt modelId="{F33E10CA-836A-4A77-B434-25F77A95E91A}" type="pres">
      <dgm:prSet presAssocID="{C377A939-6368-40F4-B39F-69B42440C198}" presName="Parent2" presStyleLbl="revTx" presStyleIdx="3" presStyleCnt="5">
        <dgm:presLayoutVars>
          <dgm:chMax val="1"/>
          <dgm:chPref val="1"/>
          <dgm:bulletEnabled val="1"/>
        </dgm:presLayoutVars>
      </dgm:prSet>
      <dgm:spPr/>
    </dgm:pt>
    <dgm:pt modelId="{00A24AF9-F270-446C-ABA7-9AFD44EC3B2E}" type="pres">
      <dgm:prSet presAssocID="{BD410FD1-3175-4497-8D7E-014957A776CE}" presName="Accent1" presStyleCnt="0"/>
      <dgm:spPr/>
    </dgm:pt>
    <dgm:pt modelId="{E83EF9DC-9D01-4CF6-A769-082209DC6E26}" type="pres">
      <dgm:prSet presAssocID="{BD410FD1-3175-4497-8D7E-014957A776CE}" presName="Accent" presStyleLbl="node1" presStyleIdx="4" presStyleCnt="5"/>
      <dgm:spPr/>
    </dgm:pt>
    <dgm:pt modelId="{32EC7261-E1CD-45FD-870D-4E7F2101B361}" type="pres">
      <dgm:prSet presAssocID="{BD410FD1-3175-4497-8D7E-014957A776CE}" presName="ParentBackground1" presStyleCnt="0"/>
      <dgm:spPr/>
    </dgm:pt>
    <dgm:pt modelId="{9C5F8F3C-36D8-442F-8E88-3298A72C1BC3}" type="pres">
      <dgm:prSet presAssocID="{BD410FD1-3175-4497-8D7E-014957A776CE}" presName="ParentBackground" presStyleLbl="fgAcc1" presStyleIdx="4" presStyleCnt="5"/>
      <dgm:spPr/>
    </dgm:pt>
    <dgm:pt modelId="{CF89AB99-A7ED-40D1-B580-BF78E7C57E19}" type="pres">
      <dgm:prSet presAssocID="{BD410FD1-3175-4497-8D7E-014957A776CE}" presName="Child1" presStyleLbl="revTx" presStyleIdx="4" presStyleCnt="5">
        <dgm:presLayoutVars>
          <dgm:chMax val="0"/>
          <dgm:chPref val="0"/>
          <dgm:bulletEnabled val="1"/>
        </dgm:presLayoutVars>
      </dgm:prSet>
      <dgm:spPr/>
    </dgm:pt>
    <dgm:pt modelId="{9151FC16-7E05-4EFA-ADCC-30F71A9FCC9B}" type="pres">
      <dgm:prSet presAssocID="{BD410FD1-3175-4497-8D7E-014957A776CE}" presName="Parent1" presStyleLbl="revTx" presStyleIdx="4" presStyleCnt="5">
        <dgm:presLayoutVars>
          <dgm:chMax val="1"/>
          <dgm:chPref val="1"/>
          <dgm:bulletEnabled val="1"/>
        </dgm:presLayoutVars>
      </dgm:prSet>
      <dgm:spPr/>
    </dgm:pt>
  </dgm:ptLst>
  <dgm:cxnLst>
    <dgm:cxn modelId="{A9443200-E41E-4292-AA45-72FE442C9735}" srcId="{25410D4D-3C54-430D-A489-C739555002D9}" destId="{BF44C651-0A16-441D-86D8-25201D7A7DF9}" srcOrd="0" destOrd="0" parTransId="{5ECEF637-4B01-4797-88A9-6824ED58C610}" sibTransId="{0610F9E0-0EF9-4DFE-ABD4-FD7DFA9A997E}"/>
    <dgm:cxn modelId="{EE709318-7FB3-4BBC-A9F8-4B15CB820D9E}" type="presOf" srcId="{1882CCBC-6E79-499A-8E32-19AABED72250}" destId="{F58A7852-0233-4690-B873-77DBC839E6D7}" srcOrd="0" destOrd="0" presId="urn:microsoft.com/office/officeart/2011/layout/CircleProcess"/>
    <dgm:cxn modelId="{036A661B-1F8E-4334-92C9-68AA01AC13F1}" srcId="{1882CCBC-6E79-499A-8E32-19AABED72250}" destId="{C377A939-6368-40F4-B39F-69B42440C198}" srcOrd="1" destOrd="0" parTransId="{1AE87072-4309-4FD4-9211-615A2CED9D56}" sibTransId="{10ECECE5-F599-40AC-82DB-75769306C8CE}"/>
    <dgm:cxn modelId="{1DCF2B22-5049-40F3-BC23-C7C2735CFBCF}" srcId="{46E3B94A-8F6C-486E-BA8D-C6C00EBE9AC5}" destId="{25A1CC65-65BC-42F9-8BFE-8AD1B8D00FAF}" srcOrd="0" destOrd="0" parTransId="{DAB1AFC9-BA1F-421B-AFE9-D8A9E8F3169F}" sibTransId="{826B7E9C-F66B-4E99-9903-E5878761ADB7}"/>
    <dgm:cxn modelId="{9A053E22-318F-429B-B100-FBE80032F640}" type="presOf" srcId="{BD410FD1-3175-4497-8D7E-014957A776CE}" destId="{9151FC16-7E05-4EFA-ADCC-30F71A9FCC9B}" srcOrd="1" destOrd="0" presId="urn:microsoft.com/office/officeart/2011/layout/CircleProcess"/>
    <dgm:cxn modelId="{561E8B29-561C-4162-8FFB-94F8D33EBB3B}" srcId="{C377A939-6368-40F4-B39F-69B42440C198}" destId="{512C91A1-BA55-4C90-A85D-C894D5DD0468}" srcOrd="1" destOrd="0" parTransId="{819536EB-7717-42BB-A8BA-3D558F3F4914}" sibTransId="{8643F636-1D8F-40C8-850A-2EEF53AA9494}"/>
    <dgm:cxn modelId="{A7E9222D-A5F4-48DF-9C94-61D8CB4EFE4B}" srcId="{46E3B94A-8F6C-486E-BA8D-C6C00EBE9AC5}" destId="{72750B21-7CFC-4FBA-B3F0-E291CB297252}" srcOrd="1" destOrd="0" parTransId="{5E78F976-A1FA-41E0-9AD5-243E721953E4}" sibTransId="{DD398DCF-43F6-49FE-BB81-98CBC4DC35B5}"/>
    <dgm:cxn modelId="{9182C92E-C1CC-47F3-8BB2-4EDA1D1376E6}" type="presOf" srcId="{512C91A1-BA55-4C90-A85D-C894D5DD0468}" destId="{332441A8-C79B-4F72-B6F2-1628667DAF7F}" srcOrd="0" destOrd="1" presId="urn:microsoft.com/office/officeart/2011/layout/CircleProcess"/>
    <dgm:cxn modelId="{833E7E35-6688-4065-B45D-13632CD75FF2}" type="presOf" srcId="{9EA513A0-0466-49BC-8C0C-AD364601235A}" destId="{332441A8-C79B-4F72-B6F2-1628667DAF7F}" srcOrd="0" destOrd="0" presId="urn:microsoft.com/office/officeart/2011/layout/CircleProcess"/>
    <dgm:cxn modelId="{2E1C0E43-37DE-4796-A24B-AD374B870462}" srcId="{1882CCBC-6E79-499A-8E32-19AABED72250}" destId="{197E6860-17A9-4801-9E28-30BE82C494C0}" srcOrd="4" destOrd="0" parTransId="{9017FD1B-E585-42E0-9DC1-88EFB673F36B}" sibTransId="{A01DBFAB-EAAE-4425-86FE-4FD5C3B8F7A2}"/>
    <dgm:cxn modelId="{4BE17847-2864-4FD4-906A-D6A96EA95752}" type="presOf" srcId="{3D1B3BF6-BFDF-4235-B45B-CDEC1BCE341C}" destId="{CF89AB99-A7ED-40D1-B580-BF78E7C57E19}" srcOrd="0" destOrd="0" presId="urn:microsoft.com/office/officeart/2011/layout/CircleProcess"/>
    <dgm:cxn modelId="{D706A04C-D3A2-4E8C-ADF3-022BC779FA39}" srcId="{25410D4D-3C54-430D-A489-C739555002D9}" destId="{30A0F47E-4EED-4791-9410-A39C3D653168}" srcOrd="1" destOrd="0" parTransId="{EB8F0F62-3A9E-4E3E-8B68-DDB2F45D3815}" sibTransId="{820176CF-78A6-4B1F-954B-89649B3C8B5C}"/>
    <dgm:cxn modelId="{03FCBA6D-8DB1-4BAF-9B57-B8E729171FF4}" type="presOf" srcId="{30A0F47E-4EED-4791-9410-A39C3D653168}" destId="{794C41C4-000E-4566-BA68-C6560F8D6E5F}" srcOrd="0" destOrd="1" presId="urn:microsoft.com/office/officeart/2011/layout/CircleProcess"/>
    <dgm:cxn modelId="{702E7D51-2EE4-433E-80AA-F82E87C99ECA}" type="presOf" srcId="{197E6860-17A9-4801-9E28-30BE82C494C0}" destId="{D9F90709-D2B6-4AE9-9485-2FC33C2BB379}" srcOrd="1" destOrd="0" presId="urn:microsoft.com/office/officeart/2011/layout/CircleProcess"/>
    <dgm:cxn modelId="{D2014854-B347-42BA-96F6-7301FEDD6D18}" type="presOf" srcId="{46E3B94A-8F6C-486E-BA8D-C6C00EBE9AC5}" destId="{E2C95BF8-AF96-44F8-8D3A-B7E0535EB101}" srcOrd="0" destOrd="0" presId="urn:microsoft.com/office/officeart/2011/layout/CircleProcess"/>
    <dgm:cxn modelId="{4C8F7D7B-BC2C-4F18-A6D3-F4AD0F9894A0}" srcId="{BD410FD1-3175-4497-8D7E-014957A776CE}" destId="{3D1B3BF6-BFDF-4235-B45B-CDEC1BCE341C}" srcOrd="0" destOrd="0" parTransId="{4081DF5A-52DD-4C0D-A808-48FF2604836E}" sibTransId="{CCBB909B-A391-49D2-83EC-83E8171DCF52}"/>
    <dgm:cxn modelId="{F0F10C91-4631-484C-A485-2E826D358FAB}" type="presOf" srcId="{BF44C651-0A16-441D-86D8-25201D7A7DF9}" destId="{794C41C4-000E-4566-BA68-C6560F8D6E5F}" srcOrd="0" destOrd="0" presId="urn:microsoft.com/office/officeart/2011/layout/CircleProcess"/>
    <dgm:cxn modelId="{27B9C497-414D-4070-BC86-9FBD4BCFC24A}" type="presOf" srcId="{25A1CC65-65BC-42F9-8BFE-8AD1B8D00FAF}" destId="{A095674F-C462-4C1C-BF30-E8F572AE411C}" srcOrd="0" destOrd="0" presId="urn:microsoft.com/office/officeart/2011/layout/CircleProcess"/>
    <dgm:cxn modelId="{C30E259C-24BE-4B5E-9334-5BE8C4481F11}" type="presOf" srcId="{72750B21-7CFC-4FBA-B3F0-E291CB297252}" destId="{A095674F-C462-4C1C-BF30-E8F572AE411C}" srcOrd="0" destOrd="1" presId="urn:microsoft.com/office/officeart/2011/layout/CircleProcess"/>
    <dgm:cxn modelId="{7E898C9D-8697-4E7D-8EE5-EDF987841EBD}" srcId="{C377A939-6368-40F4-B39F-69B42440C198}" destId="{9EA513A0-0466-49BC-8C0C-AD364601235A}" srcOrd="0" destOrd="0" parTransId="{3B02653C-3A4F-499F-A44E-736C1599C2D5}" sibTransId="{D4CC7A53-7295-45F9-9649-D71E215F75D8}"/>
    <dgm:cxn modelId="{64FAA29F-57AF-4D62-9C38-B4E2361E8FFF}" type="presOf" srcId="{C377A939-6368-40F4-B39F-69B42440C198}" destId="{F33E10CA-836A-4A77-B434-25F77A95E91A}" srcOrd="1" destOrd="0" presId="urn:microsoft.com/office/officeart/2011/layout/CircleProcess"/>
    <dgm:cxn modelId="{E668B8A2-0DA5-4EC7-9CE9-0328E7EE10F7}" srcId="{1882CCBC-6E79-499A-8E32-19AABED72250}" destId="{25410D4D-3C54-430D-A489-C739555002D9}" srcOrd="3" destOrd="0" parTransId="{492DE3A1-4288-4961-83A5-2633306BCE21}" sibTransId="{50F5B56E-82DD-4733-B317-5C743658E4D3}"/>
    <dgm:cxn modelId="{009EC6A8-29A1-4444-A7D1-AF3428B551B5}" type="presOf" srcId="{197E6860-17A9-4801-9E28-30BE82C494C0}" destId="{283A4286-2605-461B-8BE9-933DB3CB3B85}" srcOrd="0" destOrd="0" presId="urn:microsoft.com/office/officeart/2011/layout/CircleProcess"/>
    <dgm:cxn modelId="{FA13A3AC-11FF-4221-B9D5-7DA27026A7A7}" type="presOf" srcId="{25410D4D-3C54-430D-A489-C739555002D9}" destId="{E4C31B22-449A-46BD-BADD-C96B59A16C69}" srcOrd="0" destOrd="0" presId="urn:microsoft.com/office/officeart/2011/layout/CircleProcess"/>
    <dgm:cxn modelId="{C46FACB1-EB3A-4518-A801-15507E2F81D3}" srcId="{BD410FD1-3175-4497-8D7E-014957A776CE}" destId="{1C0580BB-6FD1-43F3-B094-C96853DD8A99}" srcOrd="1" destOrd="0" parTransId="{99A5AAC7-DE2D-4402-9242-6A491ED159CB}" sibTransId="{E934C023-CFA4-4E5F-9BC6-3AA42AB31B0E}"/>
    <dgm:cxn modelId="{609F04B6-08F5-4EF4-A7AE-5A9294B52B73}" type="presOf" srcId="{C377A939-6368-40F4-B39F-69B42440C198}" destId="{E5984CCE-F4FF-4B3E-8269-F2199DA98C2C}" srcOrd="0" destOrd="0" presId="urn:microsoft.com/office/officeart/2011/layout/CircleProcess"/>
    <dgm:cxn modelId="{CDA90AB7-2303-4CB3-AC13-C35D0DD9192E}" type="presOf" srcId="{1C253E70-2A9A-4977-A442-D350237C9B51}" destId="{C9B8CD0C-61DB-4235-8699-6D83B22DDBA0}" srcOrd="0" destOrd="0" presId="urn:microsoft.com/office/officeart/2011/layout/CircleProcess"/>
    <dgm:cxn modelId="{9DEC84B8-05E2-4C3F-A547-0AEA0196883B}" type="presOf" srcId="{46E3B94A-8F6C-486E-BA8D-C6C00EBE9AC5}" destId="{037B99FA-5B56-40B1-AC15-D8D98B872BEB}" srcOrd="1" destOrd="0" presId="urn:microsoft.com/office/officeart/2011/layout/CircleProcess"/>
    <dgm:cxn modelId="{6AD76BD4-601A-4256-AA69-FAFC0653C186}" srcId="{1882CCBC-6E79-499A-8E32-19AABED72250}" destId="{46E3B94A-8F6C-486E-BA8D-C6C00EBE9AC5}" srcOrd="2" destOrd="0" parTransId="{89E9298B-F6B2-4EA4-9F3E-A0D96D1C20D3}" sibTransId="{E73DDCAC-0693-4473-BD5B-EC7A8F3A3874}"/>
    <dgm:cxn modelId="{D2AAF5D5-6269-45BB-BA70-FB597B0652FD}" srcId="{197E6860-17A9-4801-9E28-30BE82C494C0}" destId="{1C253E70-2A9A-4977-A442-D350237C9B51}" srcOrd="0" destOrd="0" parTransId="{728D34F0-0D65-44F2-AFAD-1E31D62D0F83}" sibTransId="{3DBE1A1A-3D84-4788-ACFC-84DFED75EA28}"/>
    <dgm:cxn modelId="{BD7168D9-E4DD-462B-8CE7-4F4648EDA438}" srcId="{1882CCBC-6E79-499A-8E32-19AABED72250}" destId="{BD410FD1-3175-4497-8D7E-014957A776CE}" srcOrd="0" destOrd="0" parTransId="{B0780442-E769-4252-9C79-588ADBF4BFFD}" sibTransId="{3141DE70-7B6D-4453-A966-91FCA9C49E2E}"/>
    <dgm:cxn modelId="{1DDDB3E0-D690-459C-9F83-7E6B1BFA8644}" type="presOf" srcId="{BD410FD1-3175-4497-8D7E-014957A776CE}" destId="{9C5F8F3C-36D8-442F-8E88-3298A72C1BC3}" srcOrd="0" destOrd="0" presId="urn:microsoft.com/office/officeart/2011/layout/CircleProcess"/>
    <dgm:cxn modelId="{C9A441E3-C7DB-4717-BDCA-12029CFF6747}" type="presOf" srcId="{1C0580BB-6FD1-43F3-B094-C96853DD8A99}" destId="{CF89AB99-A7ED-40D1-B580-BF78E7C57E19}" srcOrd="0" destOrd="1" presId="urn:microsoft.com/office/officeart/2011/layout/CircleProcess"/>
    <dgm:cxn modelId="{098CC4F9-9BBB-4B90-B8E3-CECE003C7A6E}" type="presOf" srcId="{25410D4D-3C54-430D-A489-C739555002D9}" destId="{3EC47B4C-F3E5-451A-AD44-F75D798D280B}" srcOrd="1" destOrd="0" presId="urn:microsoft.com/office/officeart/2011/layout/CircleProcess"/>
    <dgm:cxn modelId="{9CE72D4F-D780-4593-AE2A-34861E3D4872}" type="presParOf" srcId="{F58A7852-0233-4690-B873-77DBC839E6D7}" destId="{F56A7913-D48A-42CC-8D93-189F2C25E7B5}" srcOrd="0" destOrd="0" presId="urn:microsoft.com/office/officeart/2011/layout/CircleProcess"/>
    <dgm:cxn modelId="{F63FF74C-A7C3-437D-B84E-562F770C8112}" type="presParOf" srcId="{F56A7913-D48A-42CC-8D93-189F2C25E7B5}" destId="{B9E709F8-AA30-4F7D-B84D-E349F88E3C79}" srcOrd="0" destOrd="0" presId="urn:microsoft.com/office/officeart/2011/layout/CircleProcess"/>
    <dgm:cxn modelId="{A26C1123-9BDC-4BB8-9E35-37703F9852E6}" type="presParOf" srcId="{F58A7852-0233-4690-B873-77DBC839E6D7}" destId="{D2169D95-7D22-4403-B314-26ED3C4EB541}" srcOrd="1" destOrd="0" presId="urn:microsoft.com/office/officeart/2011/layout/CircleProcess"/>
    <dgm:cxn modelId="{C0475784-F0F3-4F20-8B40-31150ED4E80F}" type="presParOf" srcId="{D2169D95-7D22-4403-B314-26ED3C4EB541}" destId="{283A4286-2605-461B-8BE9-933DB3CB3B85}" srcOrd="0" destOrd="0" presId="urn:microsoft.com/office/officeart/2011/layout/CircleProcess"/>
    <dgm:cxn modelId="{45235CA3-D96C-4C3B-8AC6-B277249F75EE}" type="presParOf" srcId="{F58A7852-0233-4690-B873-77DBC839E6D7}" destId="{C9B8CD0C-61DB-4235-8699-6D83B22DDBA0}" srcOrd="2" destOrd="0" presId="urn:microsoft.com/office/officeart/2011/layout/CircleProcess"/>
    <dgm:cxn modelId="{EC02DFA2-A5AA-415D-BB90-E41EBDB00C39}" type="presParOf" srcId="{F58A7852-0233-4690-B873-77DBC839E6D7}" destId="{D9F90709-D2B6-4AE9-9485-2FC33C2BB379}" srcOrd="3" destOrd="0" presId="urn:microsoft.com/office/officeart/2011/layout/CircleProcess"/>
    <dgm:cxn modelId="{18E99B7F-BD83-4AFE-B01F-131C2A561D59}" type="presParOf" srcId="{F58A7852-0233-4690-B873-77DBC839E6D7}" destId="{638AB959-E2C0-4E05-82AE-E620A563FE90}" srcOrd="4" destOrd="0" presId="urn:microsoft.com/office/officeart/2011/layout/CircleProcess"/>
    <dgm:cxn modelId="{869D84F8-388B-4CA9-B47B-326AF7810297}" type="presParOf" srcId="{638AB959-E2C0-4E05-82AE-E620A563FE90}" destId="{6BE3A528-113F-482E-80A8-035CE974F555}" srcOrd="0" destOrd="0" presId="urn:microsoft.com/office/officeart/2011/layout/CircleProcess"/>
    <dgm:cxn modelId="{56009E50-2BB8-4D7A-9DFC-C613DCB08DC6}" type="presParOf" srcId="{F58A7852-0233-4690-B873-77DBC839E6D7}" destId="{1FAECD8F-28E8-4066-A278-5F81AB7A37E0}" srcOrd="5" destOrd="0" presId="urn:microsoft.com/office/officeart/2011/layout/CircleProcess"/>
    <dgm:cxn modelId="{6B7FDA46-5A7B-4002-8154-9FE24BC69336}" type="presParOf" srcId="{1FAECD8F-28E8-4066-A278-5F81AB7A37E0}" destId="{E4C31B22-449A-46BD-BADD-C96B59A16C69}" srcOrd="0" destOrd="0" presId="urn:microsoft.com/office/officeart/2011/layout/CircleProcess"/>
    <dgm:cxn modelId="{6356FAB2-5026-43A0-B319-8195173654A5}" type="presParOf" srcId="{F58A7852-0233-4690-B873-77DBC839E6D7}" destId="{794C41C4-000E-4566-BA68-C6560F8D6E5F}" srcOrd="6" destOrd="0" presId="urn:microsoft.com/office/officeart/2011/layout/CircleProcess"/>
    <dgm:cxn modelId="{111E605C-B080-4F79-86F6-28E104D5602B}" type="presParOf" srcId="{F58A7852-0233-4690-B873-77DBC839E6D7}" destId="{3EC47B4C-F3E5-451A-AD44-F75D798D280B}" srcOrd="7" destOrd="0" presId="urn:microsoft.com/office/officeart/2011/layout/CircleProcess"/>
    <dgm:cxn modelId="{29099856-A28E-4BC6-AFD3-ED39D1C0F5D7}" type="presParOf" srcId="{F58A7852-0233-4690-B873-77DBC839E6D7}" destId="{769B0046-2635-4F90-900F-ACD6461BD5A9}" srcOrd="8" destOrd="0" presId="urn:microsoft.com/office/officeart/2011/layout/CircleProcess"/>
    <dgm:cxn modelId="{B77E04F9-0346-4E5F-8C06-71CF354AAF6F}" type="presParOf" srcId="{769B0046-2635-4F90-900F-ACD6461BD5A9}" destId="{A7588864-E961-460B-99AC-678C1AF4EBC7}" srcOrd="0" destOrd="0" presId="urn:microsoft.com/office/officeart/2011/layout/CircleProcess"/>
    <dgm:cxn modelId="{6E0ACEAC-5411-4F09-B4AD-1ED2B131393D}" type="presParOf" srcId="{F58A7852-0233-4690-B873-77DBC839E6D7}" destId="{57E5387F-C4A1-4FE1-9108-9B83366C57A4}" srcOrd="9" destOrd="0" presId="urn:microsoft.com/office/officeart/2011/layout/CircleProcess"/>
    <dgm:cxn modelId="{3658A9C9-B224-41F6-BC5F-337D1801A68A}" type="presParOf" srcId="{57E5387F-C4A1-4FE1-9108-9B83366C57A4}" destId="{E2C95BF8-AF96-44F8-8D3A-B7E0535EB101}" srcOrd="0" destOrd="0" presId="urn:microsoft.com/office/officeart/2011/layout/CircleProcess"/>
    <dgm:cxn modelId="{6DDC447C-A99B-4116-A6E1-3894731C47A0}" type="presParOf" srcId="{F58A7852-0233-4690-B873-77DBC839E6D7}" destId="{A095674F-C462-4C1C-BF30-E8F572AE411C}" srcOrd="10" destOrd="0" presId="urn:microsoft.com/office/officeart/2011/layout/CircleProcess"/>
    <dgm:cxn modelId="{60F1B3F6-A551-44F1-A9F5-DAF9599F35B8}" type="presParOf" srcId="{F58A7852-0233-4690-B873-77DBC839E6D7}" destId="{037B99FA-5B56-40B1-AC15-D8D98B872BEB}" srcOrd="11" destOrd="0" presId="urn:microsoft.com/office/officeart/2011/layout/CircleProcess"/>
    <dgm:cxn modelId="{0820EC4D-A152-4D09-801F-A15A9ADDE414}" type="presParOf" srcId="{F58A7852-0233-4690-B873-77DBC839E6D7}" destId="{CB0B2B14-B163-4AA1-AD26-7B7EC6DD80D3}" srcOrd="12" destOrd="0" presId="urn:microsoft.com/office/officeart/2011/layout/CircleProcess"/>
    <dgm:cxn modelId="{707A844C-1FE6-491F-8399-A950E48373CF}" type="presParOf" srcId="{CB0B2B14-B163-4AA1-AD26-7B7EC6DD80D3}" destId="{B3C6B417-8C7E-4C99-B958-2605C620C27C}" srcOrd="0" destOrd="0" presId="urn:microsoft.com/office/officeart/2011/layout/CircleProcess"/>
    <dgm:cxn modelId="{48CAB98C-1417-40AC-9914-401D02F21555}" type="presParOf" srcId="{F58A7852-0233-4690-B873-77DBC839E6D7}" destId="{FF770CF6-D78C-43B0-94BB-594738D774BF}" srcOrd="13" destOrd="0" presId="urn:microsoft.com/office/officeart/2011/layout/CircleProcess"/>
    <dgm:cxn modelId="{17A165DF-817C-4B8E-89B5-D6F145CB4F51}" type="presParOf" srcId="{FF770CF6-D78C-43B0-94BB-594738D774BF}" destId="{E5984CCE-F4FF-4B3E-8269-F2199DA98C2C}" srcOrd="0" destOrd="0" presId="urn:microsoft.com/office/officeart/2011/layout/CircleProcess"/>
    <dgm:cxn modelId="{D82CCF51-13A9-4DC7-9CCF-11B325CAA79D}" type="presParOf" srcId="{F58A7852-0233-4690-B873-77DBC839E6D7}" destId="{332441A8-C79B-4F72-B6F2-1628667DAF7F}" srcOrd="14" destOrd="0" presId="urn:microsoft.com/office/officeart/2011/layout/CircleProcess"/>
    <dgm:cxn modelId="{63DBA5AE-BB05-4011-8E59-2F23BD5EFEF4}" type="presParOf" srcId="{F58A7852-0233-4690-B873-77DBC839E6D7}" destId="{F33E10CA-836A-4A77-B434-25F77A95E91A}" srcOrd="15" destOrd="0" presId="urn:microsoft.com/office/officeart/2011/layout/CircleProcess"/>
    <dgm:cxn modelId="{BBCD7DA8-2001-4B78-8C76-57B1A14CCADB}" type="presParOf" srcId="{F58A7852-0233-4690-B873-77DBC839E6D7}" destId="{00A24AF9-F270-446C-ABA7-9AFD44EC3B2E}" srcOrd="16" destOrd="0" presId="urn:microsoft.com/office/officeart/2011/layout/CircleProcess"/>
    <dgm:cxn modelId="{0E15BE7C-4955-4732-B1BA-43C6FC8DFAF4}" type="presParOf" srcId="{00A24AF9-F270-446C-ABA7-9AFD44EC3B2E}" destId="{E83EF9DC-9D01-4CF6-A769-082209DC6E26}" srcOrd="0" destOrd="0" presId="urn:microsoft.com/office/officeart/2011/layout/CircleProcess"/>
    <dgm:cxn modelId="{9C659DC1-3952-4D81-BCDB-70FDFF18ABB6}" type="presParOf" srcId="{F58A7852-0233-4690-B873-77DBC839E6D7}" destId="{32EC7261-E1CD-45FD-870D-4E7F2101B361}" srcOrd="17" destOrd="0" presId="urn:microsoft.com/office/officeart/2011/layout/CircleProcess"/>
    <dgm:cxn modelId="{7B155F33-51E7-43F9-BABB-D7B65390E665}" type="presParOf" srcId="{32EC7261-E1CD-45FD-870D-4E7F2101B361}" destId="{9C5F8F3C-36D8-442F-8E88-3298A72C1BC3}" srcOrd="0" destOrd="0" presId="urn:microsoft.com/office/officeart/2011/layout/CircleProcess"/>
    <dgm:cxn modelId="{32929077-BFB7-4A4D-B48D-A21E3CB2FC74}" type="presParOf" srcId="{F58A7852-0233-4690-B873-77DBC839E6D7}" destId="{CF89AB99-A7ED-40D1-B580-BF78E7C57E19}" srcOrd="18" destOrd="0" presId="urn:microsoft.com/office/officeart/2011/layout/CircleProcess"/>
    <dgm:cxn modelId="{8B5530A4-5697-4C69-A65A-D2AB7E4F9DBA}" type="presParOf" srcId="{F58A7852-0233-4690-B873-77DBC839E6D7}" destId="{9151FC16-7E05-4EFA-ADCC-30F71A9FCC9B}" srcOrd="19"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FC1454-430D-4D4B-B7CC-4F0877B2EA62}" type="doc">
      <dgm:prSet loTypeId="urn:microsoft.com/office/officeart/2009/3/layout/StepUpProcess" loCatId="process" qsTypeId="urn:microsoft.com/office/officeart/2005/8/quickstyle/simple1" qsCatId="simple" csTypeId="urn:microsoft.com/office/officeart/2005/8/colors/accent1_1" csCatId="accent1" phldr="1"/>
      <dgm:spPr/>
      <dgm:t>
        <a:bodyPr/>
        <a:lstStyle/>
        <a:p>
          <a:endParaRPr lang="en-AE"/>
        </a:p>
      </dgm:t>
    </dgm:pt>
    <dgm:pt modelId="{F230F7B7-AF01-46B6-8AD8-DCBC4F76F4AA}">
      <dgm:prSet phldrT="[Text]" phldr="0" custT="1"/>
      <dgm:spPr/>
      <dgm:t>
        <a:bodyPr/>
        <a:lstStyle/>
        <a:p>
          <a:r>
            <a:rPr lang="en-US" sz="1000" b="1" dirty="0">
              <a:solidFill>
                <a:schemeClr val="bg2"/>
              </a:solidFill>
            </a:rPr>
            <a:t>Project management</a:t>
          </a:r>
          <a:endParaRPr lang="en-AE" sz="1000" b="1" dirty="0">
            <a:solidFill>
              <a:schemeClr val="bg2"/>
            </a:solidFill>
          </a:endParaRPr>
        </a:p>
      </dgm:t>
    </dgm:pt>
    <dgm:pt modelId="{0D9BFAFF-CCD4-4DD0-85EF-FA0DCE1AC082}" type="parTrans" cxnId="{8008A7A5-12E4-4EBE-A8D9-B92A9716C80A}">
      <dgm:prSet/>
      <dgm:spPr/>
      <dgm:t>
        <a:bodyPr/>
        <a:lstStyle/>
        <a:p>
          <a:endParaRPr lang="en-AE" sz="2000" b="1"/>
        </a:p>
      </dgm:t>
    </dgm:pt>
    <dgm:pt modelId="{1D1698AC-2822-430E-B26F-FAEF2A7DA904}" type="sibTrans" cxnId="{8008A7A5-12E4-4EBE-A8D9-B92A9716C80A}">
      <dgm:prSet custT="1"/>
      <dgm:spPr/>
      <dgm:t>
        <a:bodyPr/>
        <a:lstStyle/>
        <a:p>
          <a:endParaRPr lang="en-AE" sz="800" b="1"/>
        </a:p>
      </dgm:t>
    </dgm:pt>
    <dgm:pt modelId="{DB0A941A-E6A3-4341-9A17-A0518588BD1C}">
      <dgm:prSet phldrT="[Text]" custT="1"/>
      <dgm:spPr/>
      <dgm:t>
        <a:bodyPr/>
        <a:lstStyle/>
        <a:p>
          <a:pPr>
            <a:buClrTx/>
            <a:buSzTx/>
            <a:buFont typeface="Arial" panose="020B0604020202020204" pitchFamily="34" charset="0"/>
            <a:buChar char="•"/>
          </a:pPr>
          <a:r>
            <a:rPr lang="en-US" sz="1050" b="1" dirty="0">
              <a:solidFill>
                <a:schemeClr val="tx2"/>
              </a:solidFill>
            </a:rPr>
            <a:t>A successful implementation requires a cross functional approach including IT, Finance, Tax and others.</a:t>
          </a:r>
          <a:endParaRPr lang="en-AE" sz="1050" b="1" dirty="0">
            <a:solidFill>
              <a:schemeClr val="tx2"/>
            </a:solidFill>
          </a:endParaRPr>
        </a:p>
      </dgm:t>
    </dgm:pt>
    <dgm:pt modelId="{6BE56704-ED09-4B0A-89E3-BA086C02DF2B}" type="parTrans" cxnId="{CB874359-603E-4C88-B675-85562C45E782}">
      <dgm:prSet/>
      <dgm:spPr/>
      <dgm:t>
        <a:bodyPr/>
        <a:lstStyle/>
        <a:p>
          <a:endParaRPr lang="en-AE" sz="2000" b="1"/>
        </a:p>
      </dgm:t>
    </dgm:pt>
    <dgm:pt modelId="{4F8B42B2-6C08-4321-812B-095BF450B2A0}" type="sibTrans" cxnId="{CB874359-603E-4C88-B675-85562C45E782}">
      <dgm:prSet/>
      <dgm:spPr/>
      <dgm:t>
        <a:bodyPr/>
        <a:lstStyle/>
        <a:p>
          <a:endParaRPr lang="en-AE" sz="2000" b="1"/>
        </a:p>
      </dgm:t>
    </dgm:pt>
    <dgm:pt modelId="{24CF899B-3030-4299-90C6-AA076472D876}">
      <dgm:prSet phldrT="[Text]" custT="1"/>
      <dgm:spPr/>
      <dgm:t>
        <a:bodyPr/>
        <a:lstStyle/>
        <a:p>
          <a:pPr>
            <a:buClrTx/>
            <a:buSzTx/>
            <a:buFontTx/>
            <a:buNone/>
          </a:pPr>
          <a:r>
            <a:rPr kumimoji="0" lang="en-GB" sz="1000" b="1" i="0" u="none" strike="noStrike" cap="none" spc="0" normalizeH="0" baseline="0" noProof="0" dirty="0">
              <a:ln/>
              <a:solidFill>
                <a:schemeClr val="bg2"/>
              </a:solidFill>
              <a:effectLst/>
              <a:uLnTx/>
              <a:uFillTx/>
              <a:latin typeface="Arial (Body)"/>
            </a:rPr>
            <a:t>ERP data management</a:t>
          </a:r>
          <a:endParaRPr lang="en-AE" sz="1000" b="1" dirty="0">
            <a:solidFill>
              <a:schemeClr val="bg2"/>
            </a:solidFill>
          </a:endParaRPr>
        </a:p>
      </dgm:t>
    </dgm:pt>
    <dgm:pt modelId="{4A1D24E9-4FA6-46B3-8651-1E5ECFE107B0}" type="parTrans" cxnId="{B9521D2A-F806-4536-AA30-F777236CD75A}">
      <dgm:prSet/>
      <dgm:spPr/>
      <dgm:t>
        <a:bodyPr/>
        <a:lstStyle/>
        <a:p>
          <a:endParaRPr lang="en-AE" sz="2000" b="1"/>
        </a:p>
      </dgm:t>
    </dgm:pt>
    <dgm:pt modelId="{67FD1D82-2644-4FD9-B7CA-A0F56DEF9AA0}" type="sibTrans" cxnId="{B9521D2A-F806-4536-AA30-F777236CD75A}">
      <dgm:prSet custT="1"/>
      <dgm:spPr/>
      <dgm:t>
        <a:bodyPr/>
        <a:lstStyle/>
        <a:p>
          <a:endParaRPr lang="en-AE" sz="800" b="1"/>
        </a:p>
      </dgm:t>
    </dgm:pt>
    <dgm:pt modelId="{D202C6DF-5CF3-40E0-8CAA-BFAC3DAF4D85}">
      <dgm:prSet phldrT="[Text]" custT="1"/>
      <dgm:spPr/>
      <dgm:t>
        <a:bodyPr/>
        <a:lstStyle/>
        <a:p>
          <a:pPr>
            <a:buFont typeface="Arial" panose="020B0604020202020204" pitchFamily="34" charset="0"/>
            <a:buChar char="•"/>
          </a:pPr>
          <a:r>
            <a:rPr kumimoji="0" lang="en-GB" sz="1000" b="1" i="0" u="none" strike="noStrike" cap="none" spc="0" normalizeH="0" baseline="0" noProof="0" dirty="0">
              <a:ln/>
              <a:solidFill>
                <a:schemeClr val="tx2"/>
              </a:solidFill>
              <a:effectLst/>
              <a:uLnTx/>
              <a:uFillTx/>
              <a:latin typeface="Arial (Body)"/>
            </a:rPr>
            <a:t>Do you have enough granularity of customer</a:t>
          </a:r>
          <a:r>
            <a:rPr lang="en-GB" sz="1000" b="1" dirty="0">
              <a:solidFill>
                <a:schemeClr val="tx2"/>
              </a:solidFill>
              <a:latin typeface="Arial (Body)"/>
            </a:rPr>
            <a:t>/supplier</a:t>
          </a:r>
          <a:r>
            <a:rPr kumimoji="0" lang="en-GB" sz="1000" b="1" i="0" u="none" strike="noStrike" cap="none" spc="0" normalizeH="0" baseline="0" noProof="0" dirty="0">
              <a:ln/>
              <a:solidFill>
                <a:schemeClr val="tx2"/>
              </a:solidFill>
              <a:effectLst/>
              <a:uLnTx/>
              <a:uFillTx/>
              <a:latin typeface="Arial (Body)"/>
            </a:rPr>
            <a:t> information?</a:t>
          </a:r>
          <a:r>
            <a:rPr lang="en-GB" sz="1000" b="1" dirty="0">
              <a:solidFill>
                <a:schemeClr val="tx2"/>
              </a:solidFill>
              <a:latin typeface="Arial (Body)"/>
            </a:rPr>
            <a:t> </a:t>
          </a:r>
          <a:endParaRPr lang="en-AE" sz="1000" b="1" dirty="0">
            <a:solidFill>
              <a:schemeClr val="tx2"/>
            </a:solidFill>
          </a:endParaRPr>
        </a:p>
      </dgm:t>
    </dgm:pt>
    <dgm:pt modelId="{EF1D15C4-228E-45A2-80B1-634BD6151253}" type="parTrans" cxnId="{6AF057E2-5938-43BD-AEED-3C20C8F6D85E}">
      <dgm:prSet/>
      <dgm:spPr/>
      <dgm:t>
        <a:bodyPr/>
        <a:lstStyle/>
        <a:p>
          <a:endParaRPr lang="en-AE" sz="2000" b="1"/>
        </a:p>
      </dgm:t>
    </dgm:pt>
    <dgm:pt modelId="{F690BCC5-C2F2-48E0-8D5A-50DB46C42BED}" type="sibTrans" cxnId="{6AF057E2-5938-43BD-AEED-3C20C8F6D85E}">
      <dgm:prSet/>
      <dgm:spPr/>
      <dgm:t>
        <a:bodyPr/>
        <a:lstStyle/>
        <a:p>
          <a:endParaRPr lang="en-AE" sz="2000" b="1"/>
        </a:p>
      </dgm:t>
    </dgm:pt>
    <dgm:pt modelId="{4B05FC1E-53FE-482A-BBBB-022C29B201B4}">
      <dgm:prSet phldrT="[Text]" custT="1"/>
      <dgm:spPr/>
      <dgm:t>
        <a:bodyPr/>
        <a:lstStyle/>
        <a:p>
          <a:pPr>
            <a:buClrTx/>
            <a:buSzTx/>
            <a:buFontTx/>
            <a:buNone/>
          </a:pPr>
          <a:r>
            <a:rPr lang="en-GB" sz="1000" b="1" dirty="0">
              <a:solidFill>
                <a:schemeClr val="bg2"/>
              </a:solidFill>
              <a:latin typeface="Arial (Body)"/>
            </a:rPr>
            <a:t>AR &amp; AP Processes</a:t>
          </a:r>
          <a:endParaRPr lang="en-AE" sz="1000" b="1" dirty="0">
            <a:solidFill>
              <a:schemeClr val="bg2"/>
            </a:solidFill>
          </a:endParaRPr>
        </a:p>
      </dgm:t>
    </dgm:pt>
    <dgm:pt modelId="{3C1E5C35-43E3-4E25-8988-7EDC4ADC3B02}" type="parTrans" cxnId="{4A6C55E2-78F9-43F9-89BE-85DD24BAC58D}">
      <dgm:prSet/>
      <dgm:spPr/>
      <dgm:t>
        <a:bodyPr/>
        <a:lstStyle/>
        <a:p>
          <a:endParaRPr lang="en-AE" sz="2000" b="1"/>
        </a:p>
      </dgm:t>
    </dgm:pt>
    <dgm:pt modelId="{617D633A-4AB3-489B-9BE1-93472D44102A}" type="sibTrans" cxnId="{4A6C55E2-78F9-43F9-89BE-85DD24BAC58D}">
      <dgm:prSet custT="1"/>
      <dgm:spPr/>
      <dgm:t>
        <a:bodyPr/>
        <a:lstStyle/>
        <a:p>
          <a:endParaRPr lang="en-AE" sz="800" b="1"/>
        </a:p>
      </dgm:t>
    </dgm:pt>
    <dgm:pt modelId="{0FECB174-A7BA-4E32-B8E2-CBD8997FCC84}">
      <dgm:prSet phldrT="[Text]" custT="1"/>
      <dgm:spPr/>
      <dgm:t>
        <a:bodyPr/>
        <a:lstStyle/>
        <a:p>
          <a:pPr>
            <a:buClrTx/>
            <a:buSzTx/>
            <a:buFont typeface="Arial" panose="020B0604020202020204" pitchFamily="34" charset="0"/>
            <a:buChar char="•"/>
          </a:pPr>
          <a:r>
            <a:rPr lang="en-GB" sz="1000" b="1" dirty="0">
              <a:solidFill>
                <a:schemeClr val="tx2"/>
              </a:solidFill>
              <a:latin typeface="Arial (Body)"/>
            </a:rPr>
            <a:t>In 5-corner model, e-invoicing is not only impacting the AR process.</a:t>
          </a:r>
          <a:endParaRPr lang="en-AE" sz="1000" b="1" dirty="0">
            <a:solidFill>
              <a:schemeClr val="tx2"/>
            </a:solidFill>
          </a:endParaRPr>
        </a:p>
      </dgm:t>
    </dgm:pt>
    <dgm:pt modelId="{8C99F351-F121-4D2A-B9C0-1726770FE451}" type="parTrans" cxnId="{1DD5248D-71E0-4A7C-8232-ECEA2180FAFB}">
      <dgm:prSet/>
      <dgm:spPr/>
      <dgm:t>
        <a:bodyPr/>
        <a:lstStyle/>
        <a:p>
          <a:endParaRPr lang="en-AE" sz="2000" b="1"/>
        </a:p>
      </dgm:t>
    </dgm:pt>
    <dgm:pt modelId="{652C640D-FDA5-4BE5-B46F-47DC9E39E7D1}" type="sibTrans" cxnId="{1DD5248D-71E0-4A7C-8232-ECEA2180FAFB}">
      <dgm:prSet/>
      <dgm:spPr/>
      <dgm:t>
        <a:bodyPr/>
        <a:lstStyle/>
        <a:p>
          <a:endParaRPr lang="en-AE" sz="2000" b="1"/>
        </a:p>
      </dgm:t>
    </dgm:pt>
    <dgm:pt modelId="{5128BFE0-3FE5-4069-AA70-2A0A0119E0C9}">
      <dgm:prSet custT="1"/>
      <dgm:spPr/>
      <dgm:t>
        <a:bodyPr/>
        <a:lstStyle/>
        <a:p>
          <a:r>
            <a:rPr lang="en-GB" sz="1000" b="1" dirty="0">
              <a:solidFill>
                <a:schemeClr val="tx2"/>
              </a:solidFill>
              <a:latin typeface="Arial (Body)"/>
            </a:rPr>
            <a:t>Is Master data management reasonably accurate? What gaps exist? </a:t>
          </a:r>
          <a:endParaRPr lang="en-GB" sz="1000" b="1" i="0" u="none" strike="noStrike" cap="none" spc="0" normalizeH="0" baseline="0" noProof="0" dirty="0">
            <a:ln/>
            <a:solidFill>
              <a:schemeClr val="tx2"/>
            </a:solidFill>
            <a:effectLst/>
            <a:uLnTx/>
            <a:uFillTx/>
            <a:latin typeface="Arial (Body)"/>
            <a:cs typeface="Arial"/>
          </a:endParaRPr>
        </a:p>
      </dgm:t>
    </dgm:pt>
    <dgm:pt modelId="{45FCD2AA-F263-49FF-A3E5-AD5D2E30A1D7}" type="parTrans" cxnId="{12FCFE48-A16C-4561-829B-C3694528DA2D}">
      <dgm:prSet/>
      <dgm:spPr/>
      <dgm:t>
        <a:bodyPr/>
        <a:lstStyle/>
        <a:p>
          <a:endParaRPr lang="en-AE" sz="2000" b="1"/>
        </a:p>
      </dgm:t>
    </dgm:pt>
    <dgm:pt modelId="{E0CDE01C-C4EC-45F2-BB85-A5816BAAB077}" type="sibTrans" cxnId="{12FCFE48-A16C-4561-829B-C3694528DA2D}">
      <dgm:prSet/>
      <dgm:spPr/>
      <dgm:t>
        <a:bodyPr/>
        <a:lstStyle/>
        <a:p>
          <a:endParaRPr lang="en-AE" sz="2000" b="1"/>
        </a:p>
      </dgm:t>
    </dgm:pt>
    <dgm:pt modelId="{20E65B68-710A-4245-9730-DAE062DDD545}">
      <dgm:prSet custT="1"/>
      <dgm:spPr/>
      <dgm:t>
        <a:bodyPr/>
        <a:lstStyle/>
        <a:p>
          <a:r>
            <a:rPr lang="en-GB" sz="1000" b="1" dirty="0">
              <a:solidFill>
                <a:schemeClr val="tx2"/>
              </a:solidFill>
              <a:latin typeface="Arial (Body)"/>
            </a:rPr>
            <a:t>E-invoicing</a:t>
          </a:r>
          <a:r>
            <a:rPr kumimoji="0" lang="en-GB" sz="1000" b="1" i="0" u="none" strike="noStrike" cap="none" spc="0" normalizeH="0" baseline="0" noProof="0" dirty="0">
              <a:ln/>
              <a:solidFill>
                <a:schemeClr val="tx2"/>
              </a:solidFill>
              <a:effectLst/>
              <a:uLnTx/>
              <a:uFillTx/>
              <a:latin typeface="Arial (Body)"/>
            </a:rPr>
            <a:t> places much greater pressure on the effective management of accurate source data.</a:t>
          </a:r>
          <a:endParaRPr lang="en-GB" sz="1000" b="1" dirty="0">
            <a:solidFill>
              <a:schemeClr val="tx2"/>
            </a:solidFill>
            <a:latin typeface="Arial (Body)"/>
            <a:cs typeface="Arial"/>
          </a:endParaRPr>
        </a:p>
      </dgm:t>
    </dgm:pt>
    <dgm:pt modelId="{941C3D52-4E18-4F34-84BC-0EE7CAFB7EBA}" type="parTrans" cxnId="{F1FC1BC0-DDC8-48FE-85C3-B69600A0433B}">
      <dgm:prSet/>
      <dgm:spPr/>
      <dgm:t>
        <a:bodyPr/>
        <a:lstStyle/>
        <a:p>
          <a:endParaRPr lang="en-AE" sz="2000" b="1"/>
        </a:p>
      </dgm:t>
    </dgm:pt>
    <dgm:pt modelId="{0607CE80-C003-419E-9369-1358E3E3EE2B}" type="sibTrans" cxnId="{F1FC1BC0-DDC8-48FE-85C3-B69600A0433B}">
      <dgm:prSet/>
      <dgm:spPr/>
      <dgm:t>
        <a:bodyPr/>
        <a:lstStyle/>
        <a:p>
          <a:endParaRPr lang="en-AE" sz="2000" b="1"/>
        </a:p>
      </dgm:t>
    </dgm:pt>
    <dgm:pt modelId="{360B56FB-DB30-47B6-8CA1-7BE9E0ED42AE}">
      <dgm:prSet custT="1"/>
      <dgm:spPr/>
      <dgm:t>
        <a:bodyPr/>
        <a:lstStyle/>
        <a:p>
          <a:pPr>
            <a:buClrTx/>
            <a:buSzTx/>
            <a:buFontTx/>
            <a:buNone/>
          </a:pPr>
          <a:r>
            <a:rPr lang="en-GB" sz="1000" b="1" dirty="0">
              <a:solidFill>
                <a:schemeClr val="bg2"/>
              </a:solidFill>
              <a:latin typeface="Arial (Body)"/>
            </a:rPr>
            <a:t>Phased Timelines</a:t>
          </a:r>
          <a:endParaRPr lang="en-AE" sz="1000" b="1" dirty="0">
            <a:solidFill>
              <a:schemeClr val="bg2"/>
            </a:solidFill>
          </a:endParaRPr>
        </a:p>
      </dgm:t>
    </dgm:pt>
    <dgm:pt modelId="{743E221E-8325-4EA3-90A3-B19A52EB4172}" type="parTrans" cxnId="{BFD4C86A-1C63-4D01-9E2D-6E001D008097}">
      <dgm:prSet/>
      <dgm:spPr/>
      <dgm:t>
        <a:bodyPr/>
        <a:lstStyle/>
        <a:p>
          <a:endParaRPr lang="en-AE" sz="2000" b="1"/>
        </a:p>
      </dgm:t>
    </dgm:pt>
    <dgm:pt modelId="{F74BCE67-78FA-4009-913A-11D696CAFF02}" type="sibTrans" cxnId="{BFD4C86A-1C63-4D01-9E2D-6E001D008097}">
      <dgm:prSet/>
      <dgm:spPr/>
      <dgm:t>
        <a:bodyPr/>
        <a:lstStyle/>
        <a:p>
          <a:endParaRPr lang="en-AE" sz="2000" b="1"/>
        </a:p>
      </dgm:t>
    </dgm:pt>
    <dgm:pt modelId="{F17C1019-CC31-4C45-84A3-13BC56F4F817}">
      <dgm:prSet custT="1"/>
      <dgm:spPr/>
      <dgm:t>
        <a:bodyPr/>
        <a:lstStyle/>
        <a:p>
          <a:pPr>
            <a:buClrTx/>
            <a:buSzTx/>
            <a:buFont typeface="Arial" panose="020B0604020202020204" pitchFamily="34" charset="0"/>
            <a:buChar char="•"/>
          </a:pPr>
          <a:r>
            <a:rPr kumimoji="0" lang="en-GB" sz="1000" b="1" i="0" u="none" strike="noStrike" cap="none" spc="0" normalizeH="0" baseline="0" noProof="0" dirty="0">
              <a:ln/>
              <a:solidFill>
                <a:schemeClr val="tx2"/>
              </a:solidFill>
              <a:effectLst/>
              <a:uLnTx/>
              <a:uFillTx/>
              <a:latin typeface="Arial (Body)"/>
            </a:rPr>
            <a:t>Phased approach on the market</a:t>
          </a:r>
          <a:endParaRPr lang="en-AE" sz="1000" b="1" dirty="0">
            <a:solidFill>
              <a:schemeClr val="tx2"/>
            </a:solidFill>
          </a:endParaRPr>
        </a:p>
      </dgm:t>
    </dgm:pt>
    <dgm:pt modelId="{947837E4-3E8A-48E2-B1A8-CD8E9C30FA84}" type="parTrans" cxnId="{0EA45B63-2A34-4AA7-863F-5175C362D0C1}">
      <dgm:prSet/>
      <dgm:spPr/>
      <dgm:t>
        <a:bodyPr/>
        <a:lstStyle/>
        <a:p>
          <a:endParaRPr lang="en-AE" sz="2000" b="1"/>
        </a:p>
      </dgm:t>
    </dgm:pt>
    <dgm:pt modelId="{FD3DCD4F-1005-4122-B3A0-23D0356D9A9B}" type="sibTrans" cxnId="{0EA45B63-2A34-4AA7-863F-5175C362D0C1}">
      <dgm:prSet/>
      <dgm:spPr/>
      <dgm:t>
        <a:bodyPr/>
        <a:lstStyle/>
        <a:p>
          <a:endParaRPr lang="en-AE" sz="2000" b="1"/>
        </a:p>
      </dgm:t>
    </dgm:pt>
    <dgm:pt modelId="{A03BC83B-FE61-417B-A0DA-C17334F7A135}">
      <dgm:prSet custT="1"/>
      <dgm:spPr/>
      <dgm:t>
        <a:bodyPr/>
        <a:lstStyle/>
        <a:p>
          <a:pPr>
            <a:buClrTx/>
            <a:buSzTx/>
            <a:buFont typeface="Arial" panose="020B0604020202020204" pitchFamily="34" charset="0"/>
            <a:buChar char="•"/>
          </a:pPr>
          <a:r>
            <a:rPr lang="en-GB" sz="1000" b="1" dirty="0">
              <a:solidFill>
                <a:schemeClr val="tx2"/>
              </a:solidFill>
              <a:latin typeface="Arial (Body)"/>
            </a:rPr>
            <a:t>Integration with suppliers’ timelines</a:t>
          </a:r>
          <a:endParaRPr lang="en-AE" sz="1000" b="1" dirty="0">
            <a:solidFill>
              <a:schemeClr val="tx2"/>
            </a:solidFill>
          </a:endParaRPr>
        </a:p>
      </dgm:t>
    </dgm:pt>
    <dgm:pt modelId="{4C2C9AB2-81A3-43CB-AC4A-6ABB52924CDB}" type="parTrans" cxnId="{0A08C698-9571-42AE-9671-9506B7446CEA}">
      <dgm:prSet/>
      <dgm:spPr/>
      <dgm:t>
        <a:bodyPr/>
        <a:lstStyle/>
        <a:p>
          <a:endParaRPr lang="en-AE" sz="2000" b="1"/>
        </a:p>
      </dgm:t>
    </dgm:pt>
    <dgm:pt modelId="{72928636-3EDC-488F-8C04-9A3570AB1A76}" type="sibTrans" cxnId="{0A08C698-9571-42AE-9671-9506B7446CEA}">
      <dgm:prSet/>
      <dgm:spPr/>
      <dgm:t>
        <a:bodyPr/>
        <a:lstStyle/>
        <a:p>
          <a:endParaRPr lang="en-AE" sz="2000" b="1"/>
        </a:p>
      </dgm:t>
    </dgm:pt>
    <dgm:pt modelId="{5AEA5E4D-9B2C-410E-8E19-09CBE895EBEF}">
      <dgm:prSet phldrT="[Text]" custT="1"/>
      <dgm:spPr/>
      <dgm:t>
        <a:bodyPr/>
        <a:lstStyle/>
        <a:p>
          <a:pPr>
            <a:buClrTx/>
            <a:buSzTx/>
            <a:buFont typeface="Arial" panose="020B0604020202020204" pitchFamily="34" charset="0"/>
            <a:buChar char="•"/>
          </a:pPr>
          <a:r>
            <a:rPr lang="en-GB" sz="1000" b="1" dirty="0">
              <a:solidFill>
                <a:schemeClr val="tx2"/>
              </a:solidFill>
              <a:latin typeface="Arial (Body)"/>
            </a:rPr>
            <a:t>Therefore,</a:t>
          </a:r>
          <a:r>
            <a:rPr kumimoji="0" lang="en-GB" sz="1000" b="1" i="0" u="none" strike="noStrike" cap="none" spc="0" normalizeH="0" baseline="0" noProof="0" dirty="0">
              <a:ln/>
              <a:solidFill>
                <a:schemeClr val="tx2"/>
              </a:solidFill>
              <a:effectLst/>
              <a:uLnTx/>
              <a:uFillTx/>
              <a:latin typeface="Arial (Body)"/>
            </a:rPr>
            <a:t> potential changes to AP processes and systems also need to be evaluated.</a:t>
          </a:r>
          <a:endParaRPr lang="en-AE" sz="1000" b="1" dirty="0">
            <a:solidFill>
              <a:schemeClr val="tx2"/>
            </a:solidFill>
          </a:endParaRPr>
        </a:p>
      </dgm:t>
    </dgm:pt>
    <dgm:pt modelId="{AB4F6F1C-7D93-4508-9DFE-4C37773E8A80}" type="parTrans" cxnId="{178D3AD0-6DA6-4B1F-BF7C-B9D73D4E061F}">
      <dgm:prSet/>
      <dgm:spPr/>
      <dgm:t>
        <a:bodyPr/>
        <a:lstStyle/>
        <a:p>
          <a:endParaRPr lang="en-AE" b="1"/>
        </a:p>
      </dgm:t>
    </dgm:pt>
    <dgm:pt modelId="{4CF2F675-809D-43BD-911F-DAA8ADA9F87B}" type="sibTrans" cxnId="{178D3AD0-6DA6-4B1F-BF7C-B9D73D4E061F}">
      <dgm:prSet/>
      <dgm:spPr/>
      <dgm:t>
        <a:bodyPr/>
        <a:lstStyle/>
        <a:p>
          <a:endParaRPr lang="en-AE" b="1"/>
        </a:p>
      </dgm:t>
    </dgm:pt>
    <dgm:pt modelId="{8E08924B-57E2-4133-92DD-E0512CBAC233}">
      <dgm:prSet phldrT="[Text]" custT="1"/>
      <dgm:spPr/>
      <dgm:t>
        <a:bodyPr/>
        <a:lstStyle/>
        <a:p>
          <a:pPr>
            <a:buClrTx/>
            <a:buSzTx/>
            <a:buFont typeface="Arial" panose="020B0604020202020204" pitchFamily="34" charset="0"/>
            <a:buChar char="•"/>
          </a:pPr>
          <a:r>
            <a:rPr lang="en-GB" sz="1000" b="1" dirty="0">
              <a:solidFill>
                <a:schemeClr val="tx2"/>
              </a:solidFill>
              <a:latin typeface="Arial (Body)"/>
            </a:rPr>
            <a:t>As there is a direct flow to the recipient, receipt of </a:t>
          </a:r>
          <a:r>
            <a:rPr kumimoji="0" lang="en-GB" sz="1000" b="1" i="0" u="none" strike="noStrike" cap="none" spc="0" normalizeH="0" baseline="0" noProof="0" dirty="0">
              <a:ln/>
              <a:solidFill>
                <a:schemeClr val="tx2"/>
              </a:solidFill>
              <a:effectLst/>
              <a:uLnTx/>
              <a:uFillTx/>
              <a:latin typeface="Arial (Body)"/>
            </a:rPr>
            <a:t>e-invoices can lead to automation from AP perspective.</a:t>
          </a:r>
          <a:endParaRPr lang="en-AE" sz="1000" b="1" dirty="0">
            <a:solidFill>
              <a:schemeClr val="tx2"/>
            </a:solidFill>
          </a:endParaRPr>
        </a:p>
      </dgm:t>
    </dgm:pt>
    <dgm:pt modelId="{802A6793-7FA5-4F04-852C-6B9A200F75EE}" type="parTrans" cxnId="{1F6BB08A-C0E8-4937-A0C8-1F7A796AB817}">
      <dgm:prSet/>
      <dgm:spPr/>
      <dgm:t>
        <a:bodyPr/>
        <a:lstStyle/>
        <a:p>
          <a:endParaRPr lang="en-AE" b="1"/>
        </a:p>
      </dgm:t>
    </dgm:pt>
    <dgm:pt modelId="{4176903E-3B53-43E3-B699-C8F7340D4F4B}" type="sibTrans" cxnId="{1F6BB08A-C0E8-4937-A0C8-1F7A796AB817}">
      <dgm:prSet/>
      <dgm:spPr/>
      <dgm:t>
        <a:bodyPr/>
        <a:lstStyle/>
        <a:p>
          <a:endParaRPr lang="en-AE" b="1"/>
        </a:p>
      </dgm:t>
    </dgm:pt>
    <dgm:pt modelId="{DF4A0CA2-D8E3-4C00-9C07-36682507858F}">
      <dgm:prSet phldrT="[Text]" custT="1"/>
      <dgm:spPr/>
      <dgm:t>
        <a:bodyPr/>
        <a:lstStyle/>
        <a:p>
          <a:pPr>
            <a:buClrTx/>
            <a:buSzTx/>
            <a:buFont typeface="Arial" panose="020B0604020202020204" pitchFamily="34" charset="0"/>
            <a:buChar char="•"/>
          </a:pPr>
          <a:r>
            <a:rPr lang="en-US" sz="1050" b="1" dirty="0">
              <a:solidFill>
                <a:schemeClr val="tx2"/>
              </a:solidFill>
            </a:rPr>
            <a:t>Businesses should have an implementation roadmap and governance structure early to ensure a smooth transition.</a:t>
          </a:r>
          <a:endParaRPr lang="en-AE" sz="1050" b="1" dirty="0">
            <a:solidFill>
              <a:schemeClr val="tx2"/>
            </a:solidFill>
          </a:endParaRPr>
        </a:p>
      </dgm:t>
    </dgm:pt>
    <dgm:pt modelId="{BD30EB5E-C98C-43F9-A40E-E09820455E64}" type="parTrans" cxnId="{31BE19F0-F975-4EEC-89F1-8DF6E6F5BADA}">
      <dgm:prSet/>
      <dgm:spPr/>
      <dgm:t>
        <a:bodyPr/>
        <a:lstStyle/>
        <a:p>
          <a:endParaRPr lang="en-AE" b="1"/>
        </a:p>
      </dgm:t>
    </dgm:pt>
    <dgm:pt modelId="{FBE57604-657C-4363-82EE-1ECF253E0EA8}" type="sibTrans" cxnId="{31BE19F0-F975-4EEC-89F1-8DF6E6F5BADA}">
      <dgm:prSet/>
      <dgm:spPr/>
      <dgm:t>
        <a:bodyPr/>
        <a:lstStyle/>
        <a:p>
          <a:endParaRPr lang="en-AE" b="1"/>
        </a:p>
      </dgm:t>
    </dgm:pt>
    <dgm:pt modelId="{C6A0E1B3-1ABB-4478-B7D9-4A4F01C7BE07}" type="pres">
      <dgm:prSet presAssocID="{CDFC1454-430D-4D4B-B7CC-4F0877B2EA62}" presName="rootnode" presStyleCnt="0">
        <dgm:presLayoutVars>
          <dgm:chMax/>
          <dgm:chPref/>
          <dgm:dir/>
          <dgm:animLvl val="lvl"/>
        </dgm:presLayoutVars>
      </dgm:prSet>
      <dgm:spPr/>
    </dgm:pt>
    <dgm:pt modelId="{FB1A2449-DE37-4D48-A0B5-EFCE97653CED}" type="pres">
      <dgm:prSet presAssocID="{24CF899B-3030-4299-90C6-AA076472D876}" presName="composite" presStyleCnt="0"/>
      <dgm:spPr/>
    </dgm:pt>
    <dgm:pt modelId="{365EBB33-4487-4323-8102-A89F09E857EF}" type="pres">
      <dgm:prSet presAssocID="{24CF899B-3030-4299-90C6-AA076472D876}" presName="LShape" presStyleLbl="alignNode1" presStyleIdx="0" presStyleCnt="7"/>
      <dgm:spPr/>
    </dgm:pt>
    <dgm:pt modelId="{11588A15-0E18-4A2F-A237-99950492B827}" type="pres">
      <dgm:prSet presAssocID="{24CF899B-3030-4299-90C6-AA076472D876}" presName="ParentText" presStyleLbl="revTx" presStyleIdx="0" presStyleCnt="4">
        <dgm:presLayoutVars>
          <dgm:chMax val="0"/>
          <dgm:chPref val="0"/>
          <dgm:bulletEnabled val="1"/>
        </dgm:presLayoutVars>
      </dgm:prSet>
      <dgm:spPr/>
    </dgm:pt>
    <dgm:pt modelId="{103AFB7C-E576-43CC-8A3D-31AC728C4A07}" type="pres">
      <dgm:prSet presAssocID="{24CF899B-3030-4299-90C6-AA076472D876}" presName="Triangle" presStyleLbl="alignNode1" presStyleIdx="1" presStyleCnt="7"/>
      <dgm:spPr/>
    </dgm:pt>
    <dgm:pt modelId="{99061E46-7592-4B11-922D-2D8FA724687C}" type="pres">
      <dgm:prSet presAssocID="{67FD1D82-2644-4FD9-B7CA-A0F56DEF9AA0}" presName="sibTrans" presStyleCnt="0"/>
      <dgm:spPr/>
    </dgm:pt>
    <dgm:pt modelId="{2FA2BA47-611C-4ECE-A2F0-F9DAEAEEEF64}" type="pres">
      <dgm:prSet presAssocID="{67FD1D82-2644-4FD9-B7CA-A0F56DEF9AA0}" presName="space" presStyleCnt="0"/>
      <dgm:spPr/>
    </dgm:pt>
    <dgm:pt modelId="{9B686AC8-D0C7-4189-A5A4-AA6AD19ADB27}" type="pres">
      <dgm:prSet presAssocID="{F230F7B7-AF01-46B6-8AD8-DCBC4F76F4AA}" presName="composite" presStyleCnt="0"/>
      <dgm:spPr/>
    </dgm:pt>
    <dgm:pt modelId="{B86F627F-A17E-4C58-86B1-EA6747226341}" type="pres">
      <dgm:prSet presAssocID="{F230F7B7-AF01-46B6-8AD8-DCBC4F76F4AA}" presName="LShape" presStyleLbl="alignNode1" presStyleIdx="2" presStyleCnt="7" custLinFactNeighborX="-1381" custLinFactNeighborY="-1532"/>
      <dgm:spPr/>
    </dgm:pt>
    <dgm:pt modelId="{2BBF18E6-203D-4946-A232-D5B127FD113B}" type="pres">
      <dgm:prSet presAssocID="{F230F7B7-AF01-46B6-8AD8-DCBC4F76F4AA}" presName="ParentText" presStyleLbl="revTx" presStyleIdx="1" presStyleCnt="4">
        <dgm:presLayoutVars>
          <dgm:chMax val="0"/>
          <dgm:chPref val="0"/>
          <dgm:bulletEnabled val="1"/>
        </dgm:presLayoutVars>
      </dgm:prSet>
      <dgm:spPr/>
    </dgm:pt>
    <dgm:pt modelId="{AE1331E9-3314-4829-BE21-FD4F282909E7}" type="pres">
      <dgm:prSet presAssocID="{F230F7B7-AF01-46B6-8AD8-DCBC4F76F4AA}" presName="Triangle" presStyleLbl="alignNode1" presStyleIdx="3" presStyleCnt="7"/>
      <dgm:spPr/>
    </dgm:pt>
    <dgm:pt modelId="{088CB577-90DC-476F-9A3D-B7945CEA6B41}" type="pres">
      <dgm:prSet presAssocID="{1D1698AC-2822-430E-B26F-FAEF2A7DA904}" presName="sibTrans" presStyleCnt="0"/>
      <dgm:spPr/>
    </dgm:pt>
    <dgm:pt modelId="{193D4B45-CCBB-49AE-A9E1-C5365AFA544F}" type="pres">
      <dgm:prSet presAssocID="{1D1698AC-2822-430E-B26F-FAEF2A7DA904}" presName="space" presStyleCnt="0"/>
      <dgm:spPr/>
    </dgm:pt>
    <dgm:pt modelId="{FE1EE2CA-4B24-4CE5-B5EF-11C668914C48}" type="pres">
      <dgm:prSet presAssocID="{4B05FC1E-53FE-482A-BBBB-022C29B201B4}" presName="composite" presStyleCnt="0"/>
      <dgm:spPr/>
    </dgm:pt>
    <dgm:pt modelId="{956C2D60-3907-4375-B89F-E237DB566A73}" type="pres">
      <dgm:prSet presAssocID="{4B05FC1E-53FE-482A-BBBB-022C29B201B4}" presName="LShape" presStyleLbl="alignNode1" presStyleIdx="4" presStyleCnt="7"/>
      <dgm:spPr/>
    </dgm:pt>
    <dgm:pt modelId="{DE37EE76-1F62-4710-BDDE-47B2F2826E28}" type="pres">
      <dgm:prSet presAssocID="{4B05FC1E-53FE-482A-BBBB-022C29B201B4}" presName="ParentText" presStyleLbl="revTx" presStyleIdx="2" presStyleCnt="4">
        <dgm:presLayoutVars>
          <dgm:chMax val="0"/>
          <dgm:chPref val="0"/>
          <dgm:bulletEnabled val="1"/>
        </dgm:presLayoutVars>
      </dgm:prSet>
      <dgm:spPr/>
    </dgm:pt>
    <dgm:pt modelId="{3284257E-20EC-4826-8A81-F86755075684}" type="pres">
      <dgm:prSet presAssocID="{4B05FC1E-53FE-482A-BBBB-022C29B201B4}" presName="Triangle" presStyleLbl="alignNode1" presStyleIdx="5" presStyleCnt="7"/>
      <dgm:spPr/>
    </dgm:pt>
    <dgm:pt modelId="{78D6A8A7-4271-445A-B000-CEBEA80DEFEB}" type="pres">
      <dgm:prSet presAssocID="{617D633A-4AB3-489B-9BE1-93472D44102A}" presName="sibTrans" presStyleCnt="0"/>
      <dgm:spPr/>
    </dgm:pt>
    <dgm:pt modelId="{471DB7F0-AD53-4FEE-9734-33FC8C7190BB}" type="pres">
      <dgm:prSet presAssocID="{617D633A-4AB3-489B-9BE1-93472D44102A}" presName="space" presStyleCnt="0"/>
      <dgm:spPr/>
    </dgm:pt>
    <dgm:pt modelId="{758D5C60-F5DD-49B9-97BE-55A55B904B89}" type="pres">
      <dgm:prSet presAssocID="{360B56FB-DB30-47B6-8CA1-7BE9E0ED42AE}" presName="composite" presStyleCnt="0"/>
      <dgm:spPr/>
    </dgm:pt>
    <dgm:pt modelId="{997B1110-ADE9-4F76-AAFF-3DE85044492E}" type="pres">
      <dgm:prSet presAssocID="{360B56FB-DB30-47B6-8CA1-7BE9E0ED42AE}" presName="LShape" presStyleLbl="alignNode1" presStyleIdx="6" presStyleCnt="7"/>
      <dgm:spPr/>
    </dgm:pt>
    <dgm:pt modelId="{FE72DD45-15FF-438F-97BB-23C30240E87D}" type="pres">
      <dgm:prSet presAssocID="{360B56FB-DB30-47B6-8CA1-7BE9E0ED42AE}" presName="ParentText" presStyleLbl="revTx" presStyleIdx="3" presStyleCnt="4">
        <dgm:presLayoutVars>
          <dgm:chMax val="0"/>
          <dgm:chPref val="0"/>
          <dgm:bulletEnabled val="1"/>
        </dgm:presLayoutVars>
      </dgm:prSet>
      <dgm:spPr/>
    </dgm:pt>
  </dgm:ptLst>
  <dgm:cxnLst>
    <dgm:cxn modelId="{C96F9825-047B-4B7B-87FA-D7A7DCB8F777}" type="presOf" srcId="{A03BC83B-FE61-417B-A0DA-C17334F7A135}" destId="{FE72DD45-15FF-438F-97BB-23C30240E87D}" srcOrd="0" destOrd="2" presId="urn:microsoft.com/office/officeart/2009/3/layout/StepUpProcess"/>
    <dgm:cxn modelId="{B9521D2A-F806-4536-AA30-F777236CD75A}" srcId="{CDFC1454-430D-4D4B-B7CC-4F0877B2EA62}" destId="{24CF899B-3030-4299-90C6-AA076472D876}" srcOrd="0" destOrd="0" parTransId="{4A1D24E9-4FA6-46B3-8651-1E5ECFE107B0}" sibTransId="{67FD1D82-2644-4FD9-B7CA-A0F56DEF9AA0}"/>
    <dgm:cxn modelId="{59229E40-F28F-4945-BDEF-8F1BE317F9FC}" type="presOf" srcId="{0FECB174-A7BA-4E32-B8E2-CBD8997FCC84}" destId="{DE37EE76-1F62-4710-BDDE-47B2F2826E28}" srcOrd="0" destOrd="1" presId="urn:microsoft.com/office/officeart/2009/3/layout/StepUpProcess"/>
    <dgm:cxn modelId="{0EA45B63-2A34-4AA7-863F-5175C362D0C1}" srcId="{360B56FB-DB30-47B6-8CA1-7BE9E0ED42AE}" destId="{F17C1019-CC31-4C45-84A3-13BC56F4F817}" srcOrd="0" destOrd="0" parTransId="{947837E4-3E8A-48E2-B1A8-CD8E9C30FA84}" sibTransId="{FD3DCD4F-1005-4122-B3A0-23D0356D9A9B}"/>
    <dgm:cxn modelId="{71889B63-1267-40A8-B27C-E475C10CC169}" type="presOf" srcId="{DF4A0CA2-D8E3-4C00-9C07-36682507858F}" destId="{2BBF18E6-203D-4946-A232-D5B127FD113B}" srcOrd="0" destOrd="2" presId="urn:microsoft.com/office/officeart/2009/3/layout/StepUpProcess"/>
    <dgm:cxn modelId="{12FCFE48-A16C-4561-829B-C3694528DA2D}" srcId="{24CF899B-3030-4299-90C6-AA076472D876}" destId="{5128BFE0-3FE5-4069-AA70-2A0A0119E0C9}" srcOrd="1" destOrd="0" parTransId="{45FCD2AA-F263-49FF-A3E5-AD5D2E30A1D7}" sibTransId="{E0CDE01C-C4EC-45F2-BB85-A5816BAAB077}"/>
    <dgm:cxn modelId="{638A2E69-C6F7-4577-A323-3CCD6FC5FDAB}" type="presOf" srcId="{F230F7B7-AF01-46B6-8AD8-DCBC4F76F4AA}" destId="{2BBF18E6-203D-4946-A232-D5B127FD113B}" srcOrd="0" destOrd="0" presId="urn:microsoft.com/office/officeart/2009/3/layout/StepUpProcess"/>
    <dgm:cxn modelId="{BFD4C86A-1C63-4D01-9E2D-6E001D008097}" srcId="{CDFC1454-430D-4D4B-B7CC-4F0877B2EA62}" destId="{360B56FB-DB30-47B6-8CA1-7BE9E0ED42AE}" srcOrd="3" destOrd="0" parTransId="{743E221E-8325-4EA3-90A3-B19A52EB4172}" sibTransId="{F74BCE67-78FA-4009-913A-11D696CAFF02}"/>
    <dgm:cxn modelId="{A73E2372-9DC3-40C4-B6B4-6197C481B3A7}" type="presOf" srcId="{5128BFE0-3FE5-4069-AA70-2A0A0119E0C9}" destId="{11588A15-0E18-4A2F-A237-99950492B827}" srcOrd="0" destOrd="2" presId="urn:microsoft.com/office/officeart/2009/3/layout/StepUpProcess"/>
    <dgm:cxn modelId="{1E338F55-E373-4FC7-8802-74F6A7447926}" type="presOf" srcId="{24CF899B-3030-4299-90C6-AA076472D876}" destId="{11588A15-0E18-4A2F-A237-99950492B827}" srcOrd="0" destOrd="0" presId="urn:microsoft.com/office/officeart/2009/3/layout/StepUpProcess"/>
    <dgm:cxn modelId="{0B969975-EF11-4881-B768-391BE0D71BD9}" type="presOf" srcId="{4B05FC1E-53FE-482A-BBBB-022C29B201B4}" destId="{DE37EE76-1F62-4710-BDDE-47B2F2826E28}" srcOrd="0" destOrd="0" presId="urn:microsoft.com/office/officeart/2009/3/layout/StepUpProcess"/>
    <dgm:cxn modelId="{CB874359-603E-4C88-B675-85562C45E782}" srcId="{F230F7B7-AF01-46B6-8AD8-DCBC4F76F4AA}" destId="{DB0A941A-E6A3-4341-9A17-A0518588BD1C}" srcOrd="0" destOrd="0" parTransId="{6BE56704-ED09-4B0A-89E3-BA086C02DF2B}" sibTransId="{4F8B42B2-6C08-4321-812B-095BF450B2A0}"/>
    <dgm:cxn modelId="{42557580-80E5-4F91-9F46-020D7FFACF0C}" type="presOf" srcId="{8E08924B-57E2-4133-92DD-E0512CBAC233}" destId="{DE37EE76-1F62-4710-BDDE-47B2F2826E28}" srcOrd="0" destOrd="2" presId="urn:microsoft.com/office/officeart/2009/3/layout/StepUpProcess"/>
    <dgm:cxn modelId="{1F6BB08A-C0E8-4937-A0C8-1F7A796AB817}" srcId="{4B05FC1E-53FE-482A-BBBB-022C29B201B4}" destId="{8E08924B-57E2-4133-92DD-E0512CBAC233}" srcOrd="1" destOrd="0" parTransId="{802A6793-7FA5-4F04-852C-6B9A200F75EE}" sibTransId="{4176903E-3B53-43E3-B699-C8F7340D4F4B}"/>
    <dgm:cxn modelId="{53F2898C-B9FE-4676-B4E2-C9A1F4D95214}" type="presOf" srcId="{5AEA5E4D-9B2C-410E-8E19-09CBE895EBEF}" destId="{DE37EE76-1F62-4710-BDDE-47B2F2826E28}" srcOrd="0" destOrd="3" presId="urn:microsoft.com/office/officeart/2009/3/layout/StepUpProcess"/>
    <dgm:cxn modelId="{1DD5248D-71E0-4A7C-8232-ECEA2180FAFB}" srcId="{4B05FC1E-53FE-482A-BBBB-022C29B201B4}" destId="{0FECB174-A7BA-4E32-B8E2-CBD8997FCC84}" srcOrd="0" destOrd="0" parTransId="{8C99F351-F121-4D2A-B9C0-1726770FE451}" sibTransId="{652C640D-FDA5-4BE5-B46F-47DC9E39E7D1}"/>
    <dgm:cxn modelId="{3C81AB8D-D540-4DC5-8FBF-142CC307E3F3}" type="presOf" srcId="{CDFC1454-430D-4D4B-B7CC-4F0877B2EA62}" destId="{C6A0E1B3-1ABB-4478-B7D9-4A4F01C7BE07}" srcOrd="0" destOrd="0" presId="urn:microsoft.com/office/officeart/2009/3/layout/StepUpProcess"/>
    <dgm:cxn modelId="{0A08C698-9571-42AE-9671-9506B7446CEA}" srcId="{360B56FB-DB30-47B6-8CA1-7BE9E0ED42AE}" destId="{A03BC83B-FE61-417B-A0DA-C17334F7A135}" srcOrd="1" destOrd="0" parTransId="{4C2C9AB2-81A3-43CB-AC4A-6ABB52924CDB}" sibTransId="{72928636-3EDC-488F-8C04-9A3570AB1A76}"/>
    <dgm:cxn modelId="{8008A7A5-12E4-4EBE-A8D9-B92A9716C80A}" srcId="{CDFC1454-430D-4D4B-B7CC-4F0877B2EA62}" destId="{F230F7B7-AF01-46B6-8AD8-DCBC4F76F4AA}" srcOrd="1" destOrd="0" parTransId="{0D9BFAFF-CCD4-4DD0-85EF-FA0DCE1AC082}" sibTransId="{1D1698AC-2822-430E-B26F-FAEF2A7DA904}"/>
    <dgm:cxn modelId="{C72112A7-992F-4AC4-942B-429F2A1A22EF}" type="presOf" srcId="{360B56FB-DB30-47B6-8CA1-7BE9E0ED42AE}" destId="{FE72DD45-15FF-438F-97BB-23C30240E87D}" srcOrd="0" destOrd="0" presId="urn:microsoft.com/office/officeart/2009/3/layout/StepUpProcess"/>
    <dgm:cxn modelId="{4DDD5BB6-D05E-4536-8F0D-A82920EA2A85}" type="presOf" srcId="{DB0A941A-E6A3-4341-9A17-A0518588BD1C}" destId="{2BBF18E6-203D-4946-A232-D5B127FD113B}" srcOrd="0" destOrd="1" presId="urn:microsoft.com/office/officeart/2009/3/layout/StepUpProcess"/>
    <dgm:cxn modelId="{CD86BBBD-64DF-44D5-A64D-8467824043AB}" type="presOf" srcId="{F17C1019-CC31-4C45-84A3-13BC56F4F817}" destId="{FE72DD45-15FF-438F-97BB-23C30240E87D}" srcOrd="0" destOrd="1" presId="urn:microsoft.com/office/officeart/2009/3/layout/StepUpProcess"/>
    <dgm:cxn modelId="{F1FC1BC0-DDC8-48FE-85C3-B69600A0433B}" srcId="{24CF899B-3030-4299-90C6-AA076472D876}" destId="{20E65B68-710A-4245-9730-DAE062DDD545}" srcOrd="2" destOrd="0" parTransId="{941C3D52-4E18-4F34-84BC-0EE7CAFB7EBA}" sibTransId="{0607CE80-C003-419E-9369-1358E3E3EE2B}"/>
    <dgm:cxn modelId="{A92237D0-51A2-4719-A230-ACD9C9E68169}" type="presOf" srcId="{20E65B68-710A-4245-9730-DAE062DDD545}" destId="{11588A15-0E18-4A2F-A237-99950492B827}" srcOrd="0" destOrd="3" presId="urn:microsoft.com/office/officeart/2009/3/layout/StepUpProcess"/>
    <dgm:cxn modelId="{178D3AD0-6DA6-4B1F-BF7C-B9D73D4E061F}" srcId="{4B05FC1E-53FE-482A-BBBB-022C29B201B4}" destId="{5AEA5E4D-9B2C-410E-8E19-09CBE895EBEF}" srcOrd="2" destOrd="0" parTransId="{AB4F6F1C-7D93-4508-9DFE-4C37773E8A80}" sibTransId="{4CF2F675-809D-43BD-911F-DAA8ADA9F87B}"/>
    <dgm:cxn modelId="{645CDFD2-3160-46BA-BA2A-3D1CF4A938FF}" type="presOf" srcId="{D202C6DF-5CF3-40E0-8CAA-BFAC3DAF4D85}" destId="{11588A15-0E18-4A2F-A237-99950492B827}" srcOrd="0" destOrd="1" presId="urn:microsoft.com/office/officeart/2009/3/layout/StepUpProcess"/>
    <dgm:cxn modelId="{4A6C55E2-78F9-43F9-89BE-85DD24BAC58D}" srcId="{CDFC1454-430D-4D4B-B7CC-4F0877B2EA62}" destId="{4B05FC1E-53FE-482A-BBBB-022C29B201B4}" srcOrd="2" destOrd="0" parTransId="{3C1E5C35-43E3-4E25-8988-7EDC4ADC3B02}" sibTransId="{617D633A-4AB3-489B-9BE1-93472D44102A}"/>
    <dgm:cxn modelId="{6AF057E2-5938-43BD-AEED-3C20C8F6D85E}" srcId="{24CF899B-3030-4299-90C6-AA076472D876}" destId="{D202C6DF-5CF3-40E0-8CAA-BFAC3DAF4D85}" srcOrd="0" destOrd="0" parTransId="{EF1D15C4-228E-45A2-80B1-634BD6151253}" sibTransId="{F690BCC5-C2F2-48E0-8D5A-50DB46C42BED}"/>
    <dgm:cxn modelId="{31BE19F0-F975-4EEC-89F1-8DF6E6F5BADA}" srcId="{F230F7B7-AF01-46B6-8AD8-DCBC4F76F4AA}" destId="{DF4A0CA2-D8E3-4C00-9C07-36682507858F}" srcOrd="1" destOrd="0" parTransId="{BD30EB5E-C98C-43F9-A40E-E09820455E64}" sibTransId="{FBE57604-657C-4363-82EE-1ECF253E0EA8}"/>
    <dgm:cxn modelId="{F778EE8F-3654-41E0-A41E-99498044893C}" type="presParOf" srcId="{C6A0E1B3-1ABB-4478-B7D9-4A4F01C7BE07}" destId="{FB1A2449-DE37-4D48-A0B5-EFCE97653CED}" srcOrd="0" destOrd="0" presId="urn:microsoft.com/office/officeart/2009/3/layout/StepUpProcess"/>
    <dgm:cxn modelId="{FB0A0D1B-786F-4D48-846B-0EF5529D3FC3}" type="presParOf" srcId="{FB1A2449-DE37-4D48-A0B5-EFCE97653CED}" destId="{365EBB33-4487-4323-8102-A89F09E857EF}" srcOrd="0" destOrd="0" presId="urn:microsoft.com/office/officeart/2009/3/layout/StepUpProcess"/>
    <dgm:cxn modelId="{EC3F6137-3941-4E0D-BC21-0DB09BD4ADB2}" type="presParOf" srcId="{FB1A2449-DE37-4D48-A0B5-EFCE97653CED}" destId="{11588A15-0E18-4A2F-A237-99950492B827}" srcOrd="1" destOrd="0" presId="urn:microsoft.com/office/officeart/2009/3/layout/StepUpProcess"/>
    <dgm:cxn modelId="{DDB1F2B7-CB22-4814-BDF9-F42D9E42FD54}" type="presParOf" srcId="{FB1A2449-DE37-4D48-A0B5-EFCE97653CED}" destId="{103AFB7C-E576-43CC-8A3D-31AC728C4A07}" srcOrd="2" destOrd="0" presId="urn:microsoft.com/office/officeart/2009/3/layout/StepUpProcess"/>
    <dgm:cxn modelId="{1607E65C-5309-41FE-9F09-B8EABEC63695}" type="presParOf" srcId="{C6A0E1B3-1ABB-4478-B7D9-4A4F01C7BE07}" destId="{99061E46-7592-4B11-922D-2D8FA724687C}" srcOrd="1" destOrd="0" presId="urn:microsoft.com/office/officeart/2009/3/layout/StepUpProcess"/>
    <dgm:cxn modelId="{D7C82D0F-A688-4448-87C7-643F2F904305}" type="presParOf" srcId="{99061E46-7592-4B11-922D-2D8FA724687C}" destId="{2FA2BA47-611C-4ECE-A2F0-F9DAEAEEEF64}" srcOrd="0" destOrd="0" presId="urn:microsoft.com/office/officeart/2009/3/layout/StepUpProcess"/>
    <dgm:cxn modelId="{BE348D30-102C-4D9D-9B12-28F04BA0E72E}" type="presParOf" srcId="{C6A0E1B3-1ABB-4478-B7D9-4A4F01C7BE07}" destId="{9B686AC8-D0C7-4189-A5A4-AA6AD19ADB27}" srcOrd="2" destOrd="0" presId="urn:microsoft.com/office/officeart/2009/3/layout/StepUpProcess"/>
    <dgm:cxn modelId="{5EF54C60-B868-40FE-A19E-9E6419973B3B}" type="presParOf" srcId="{9B686AC8-D0C7-4189-A5A4-AA6AD19ADB27}" destId="{B86F627F-A17E-4C58-86B1-EA6747226341}" srcOrd="0" destOrd="0" presId="urn:microsoft.com/office/officeart/2009/3/layout/StepUpProcess"/>
    <dgm:cxn modelId="{53A69155-0D91-4471-9052-A8B8D3F4E068}" type="presParOf" srcId="{9B686AC8-D0C7-4189-A5A4-AA6AD19ADB27}" destId="{2BBF18E6-203D-4946-A232-D5B127FD113B}" srcOrd="1" destOrd="0" presId="urn:microsoft.com/office/officeart/2009/3/layout/StepUpProcess"/>
    <dgm:cxn modelId="{3C4FC425-AD68-408B-8537-9BECD0880F2C}" type="presParOf" srcId="{9B686AC8-D0C7-4189-A5A4-AA6AD19ADB27}" destId="{AE1331E9-3314-4829-BE21-FD4F282909E7}" srcOrd="2" destOrd="0" presId="urn:microsoft.com/office/officeart/2009/3/layout/StepUpProcess"/>
    <dgm:cxn modelId="{B8A64891-C44B-418A-8472-66BF1E2173C6}" type="presParOf" srcId="{C6A0E1B3-1ABB-4478-B7D9-4A4F01C7BE07}" destId="{088CB577-90DC-476F-9A3D-B7945CEA6B41}" srcOrd="3" destOrd="0" presId="urn:microsoft.com/office/officeart/2009/3/layout/StepUpProcess"/>
    <dgm:cxn modelId="{2280FA1B-A4B9-400A-8C84-822496E383EA}" type="presParOf" srcId="{088CB577-90DC-476F-9A3D-B7945CEA6B41}" destId="{193D4B45-CCBB-49AE-A9E1-C5365AFA544F}" srcOrd="0" destOrd="0" presId="urn:microsoft.com/office/officeart/2009/3/layout/StepUpProcess"/>
    <dgm:cxn modelId="{0D8DDFE4-EF32-42D9-A177-B89579686506}" type="presParOf" srcId="{C6A0E1B3-1ABB-4478-B7D9-4A4F01C7BE07}" destId="{FE1EE2CA-4B24-4CE5-B5EF-11C668914C48}" srcOrd="4" destOrd="0" presId="urn:microsoft.com/office/officeart/2009/3/layout/StepUpProcess"/>
    <dgm:cxn modelId="{56F3770D-FD12-4815-BFAC-8E833520B66B}" type="presParOf" srcId="{FE1EE2CA-4B24-4CE5-B5EF-11C668914C48}" destId="{956C2D60-3907-4375-B89F-E237DB566A73}" srcOrd="0" destOrd="0" presId="urn:microsoft.com/office/officeart/2009/3/layout/StepUpProcess"/>
    <dgm:cxn modelId="{98A4FC27-44A8-4044-9E8E-AB1B4A63789C}" type="presParOf" srcId="{FE1EE2CA-4B24-4CE5-B5EF-11C668914C48}" destId="{DE37EE76-1F62-4710-BDDE-47B2F2826E28}" srcOrd="1" destOrd="0" presId="urn:microsoft.com/office/officeart/2009/3/layout/StepUpProcess"/>
    <dgm:cxn modelId="{96051CBD-FFDD-4C27-AFBB-C796C279E4FF}" type="presParOf" srcId="{FE1EE2CA-4B24-4CE5-B5EF-11C668914C48}" destId="{3284257E-20EC-4826-8A81-F86755075684}" srcOrd="2" destOrd="0" presId="urn:microsoft.com/office/officeart/2009/3/layout/StepUpProcess"/>
    <dgm:cxn modelId="{72F4C7CB-6ACD-48FB-984F-783F7E7F135E}" type="presParOf" srcId="{C6A0E1B3-1ABB-4478-B7D9-4A4F01C7BE07}" destId="{78D6A8A7-4271-445A-B000-CEBEA80DEFEB}" srcOrd="5" destOrd="0" presId="urn:microsoft.com/office/officeart/2009/3/layout/StepUpProcess"/>
    <dgm:cxn modelId="{FF3D77F9-33B4-4596-8E04-BCDB6E87893E}" type="presParOf" srcId="{78D6A8A7-4271-445A-B000-CEBEA80DEFEB}" destId="{471DB7F0-AD53-4FEE-9734-33FC8C7190BB}" srcOrd="0" destOrd="0" presId="urn:microsoft.com/office/officeart/2009/3/layout/StepUpProcess"/>
    <dgm:cxn modelId="{7A57F786-30CD-4D17-A849-ED98F4D9C800}" type="presParOf" srcId="{C6A0E1B3-1ABB-4478-B7D9-4A4F01C7BE07}" destId="{758D5C60-F5DD-49B9-97BE-55A55B904B89}" srcOrd="6" destOrd="0" presId="urn:microsoft.com/office/officeart/2009/3/layout/StepUpProcess"/>
    <dgm:cxn modelId="{D5DB1084-6FC2-4D17-911F-4733DE031A4D}" type="presParOf" srcId="{758D5C60-F5DD-49B9-97BE-55A55B904B89}" destId="{997B1110-ADE9-4F76-AAFF-3DE85044492E}" srcOrd="0" destOrd="0" presId="urn:microsoft.com/office/officeart/2009/3/layout/StepUpProcess"/>
    <dgm:cxn modelId="{EF38FAA6-CEEF-42E6-8B8E-E4F9A1F3BDDB}" type="presParOf" srcId="{758D5C60-F5DD-49B9-97BE-55A55B904B89}" destId="{FE72DD45-15FF-438F-97BB-23C30240E87D}"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E709F8-AA30-4F7D-B84D-E349F88E3C79}">
      <dsp:nvSpPr>
        <dsp:cNvPr id="0" name=""/>
        <dsp:cNvSpPr/>
      </dsp:nvSpPr>
      <dsp:spPr>
        <a:xfrm>
          <a:off x="6542366" y="538259"/>
          <a:ext cx="1487346" cy="1487590"/>
        </a:xfrm>
        <a:prstGeom prst="ellipse">
          <a:avLst/>
        </a:prstGeom>
        <a:gradFill rotWithShape="0">
          <a:gsLst>
            <a:gs pos="0">
              <a:schemeClr val="accent2">
                <a:hueOff val="0"/>
                <a:satOff val="0"/>
                <a:lumOff val="0"/>
                <a:alphaOff val="0"/>
                <a:tint val="96000"/>
                <a:lumMod val="102000"/>
              </a:schemeClr>
            </a:gs>
            <a:gs pos="100000">
              <a:schemeClr val="accent2">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dsp:spPr>
      <dsp:style>
        <a:lnRef idx="0">
          <a:scrgbClr r="0" g="0" b="0"/>
        </a:lnRef>
        <a:fillRef idx="3">
          <a:scrgbClr r="0" g="0" b="0"/>
        </a:fillRef>
        <a:effectRef idx="2">
          <a:scrgbClr r="0" g="0" b="0"/>
        </a:effectRef>
        <a:fontRef idx="minor">
          <a:schemeClr val="lt1"/>
        </a:fontRef>
      </dsp:style>
    </dsp:sp>
    <dsp:sp modelId="{283A4286-2605-461B-8BE9-933DB3CB3B85}">
      <dsp:nvSpPr>
        <dsp:cNvPr id="0" name=""/>
        <dsp:cNvSpPr/>
      </dsp:nvSpPr>
      <dsp:spPr>
        <a:xfrm>
          <a:off x="6591443" y="587854"/>
          <a:ext cx="1388401" cy="1388400"/>
        </a:xfrm>
        <a:prstGeom prst="ellipse">
          <a:avLst/>
        </a:prstGeom>
        <a:solidFill>
          <a:schemeClr val="accent1"/>
        </a:solidFill>
        <a:ln w="9525"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ep 5: Implementation and Go-Live support</a:t>
          </a:r>
          <a:endParaRPr lang="en-AE" sz="1000" b="1" kern="1200" dirty="0">
            <a:solidFill>
              <a:schemeClr val="bg1"/>
            </a:solidFill>
          </a:endParaRPr>
        </a:p>
      </dsp:txBody>
      <dsp:txXfrm>
        <a:off x="6790125" y="786234"/>
        <a:ext cx="991828" cy="991639"/>
      </dsp:txXfrm>
    </dsp:sp>
    <dsp:sp modelId="{C9B8CD0C-61DB-4235-8699-6D83B22DDBA0}">
      <dsp:nvSpPr>
        <dsp:cNvPr id="0" name=""/>
        <dsp:cNvSpPr/>
      </dsp:nvSpPr>
      <dsp:spPr>
        <a:xfrm>
          <a:off x="6591443" y="2053257"/>
          <a:ext cx="1388401" cy="8154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57150" lvl="1" indent="-57150" algn="l" defTabSz="355600">
            <a:lnSpc>
              <a:spcPct val="90000"/>
            </a:lnSpc>
            <a:spcBef>
              <a:spcPct val="0"/>
            </a:spcBef>
            <a:spcAft>
              <a:spcPct val="15000"/>
            </a:spcAft>
            <a:buChar char="•"/>
          </a:pPr>
          <a:r>
            <a:rPr lang="en-US" sz="800" b="1" kern="1200" dirty="0"/>
            <a:t>Constant support from go-live date </a:t>
          </a:r>
          <a:r>
            <a:rPr lang="en-US" sz="1050" b="1" kern="1200" baseline="0" dirty="0"/>
            <a:t>until</a:t>
          </a:r>
          <a:r>
            <a:rPr lang="en-US" sz="800" b="1" kern="1200" dirty="0"/>
            <a:t> the filing of first VAT return</a:t>
          </a:r>
          <a:r>
            <a:rPr lang="en-US" sz="800" b="0" kern="1200" dirty="0"/>
            <a:t>.</a:t>
          </a:r>
          <a:endParaRPr lang="en-AE" sz="800" b="0" kern="1200" dirty="0"/>
        </a:p>
      </dsp:txBody>
      <dsp:txXfrm>
        <a:off x="6591443" y="2053257"/>
        <a:ext cx="1388401" cy="815446"/>
      </dsp:txXfrm>
    </dsp:sp>
    <dsp:sp modelId="{6BE3A528-113F-482E-80A8-035CE974F555}">
      <dsp:nvSpPr>
        <dsp:cNvPr id="0" name=""/>
        <dsp:cNvSpPr/>
      </dsp:nvSpPr>
      <dsp:spPr>
        <a:xfrm rot="2700000">
          <a:off x="5004445" y="538336"/>
          <a:ext cx="1487174" cy="1487174"/>
        </a:xfrm>
        <a:prstGeom prst="teardrop">
          <a:avLst>
            <a:gd name="adj" fmla="val 100000"/>
          </a:avLst>
        </a:prstGeom>
        <a:gradFill rotWithShape="0">
          <a:gsLst>
            <a:gs pos="0">
              <a:schemeClr val="accent2">
                <a:hueOff val="0"/>
                <a:satOff val="0"/>
                <a:lumOff val="0"/>
                <a:alphaOff val="0"/>
                <a:tint val="96000"/>
                <a:lumMod val="102000"/>
              </a:schemeClr>
            </a:gs>
            <a:gs pos="100000">
              <a:schemeClr val="accent2">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dsp:spPr>
      <dsp:style>
        <a:lnRef idx="0">
          <a:scrgbClr r="0" g="0" b="0"/>
        </a:lnRef>
        <a:fillRef idx="3">
          <a:scrgbClr r="0" g="0" b="0"/>
        </a:fillRef>
        <a:effectRef idx="2">
          <a:scrgbClr r="0" g="0" b="0"/>
        </a:effectRef>
        <a:fontRef idx="minor">
          <a:schemeClr val="lt1"/>
        </a:fontRef>
      </dsp:style>
    </dsp:sp>
    <dsp:sp modelId="{E4C31B22-449A-46BD-BADD-C96B59A16C69}">
      <dsp:nvSpPr>
        <dsp:cNvPr id="0" name=""/>
        <dsp:cNvSpPr/>
      </dsp:nvSpPr>
      <dsp:spPr>
        <a:xfrm>
          <a:off x="5078358" y="587854"/>
          <a:ext cx="1388401" cy="1388400"/>
        </a:xfrm>
        <a:prstGeom prst="ellipse">
          <a:avLst/>
        </a:prstGeom>
        <a:solidFill>
          <a:schemeClr val="accent1"/>
        </a:solidFill>
        <a:ln w="9525"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ep 4: Integration &amp; Testing</a:t>
          </a:r>
          <a:endParaRPr lang="en-AE" sz="1000" b="1" kern="1200" dirty="0">
            <a:solidFill>
              <a:schemeClr val="bg1"/>
            </a:solidFill>
          </a:endParaRPr>
        </a:p>
      </dsp:txBody>
      <dsp:txXfrm>
        <a:off x="5276249" y="786234"/>
        <a:ext cx="991828" cy="991639"/>
      </dsp:txXfrm>
    </dsp:sp>
    <dsp:sp modelId="{794C41C4-000E-4566-BA68-C6560F8D6E5F}">
      <dsp:nvSpPr>
        <dsp:cNvPr id="0" name=""/>
        <dsp:cNvSpPr/>
      </dsp:nvSpPr>
      <dsp:spPr>
        <a:xfrm>
          <a:off x="5055019" y="2053257"/>
          <a:ext cx="1388401" cy="8154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57150" lvl="1" indent="-57150" algn="l" defTabSz="311150">
            <a:lnSpc>
              <a:spcPct val="90000"/>
            </a:lnSpc>
            <a:spcBef>
              <a:spcPct val="0"/>
            </a:spcBef>
            <a:spcAft>
              <a:spcPct val="15000"/>
            </a:spcAft>
            <a:buChar char="•"/>
          </a:pPr>
          <a:r>
            <a:rPr lang="en-US" sz="700" b="1" kern="1200" dirty="0"/>
            <a:t>I</a:t>
          </a:r>
          <a:r>
            <a:rPr kumimoji="0" lang="en-GB" sz="700" b="1" i="0" u="none" strike="noStrike" kern="1200" cap="none" spc="0" normalizeH="0" baseline="0" noProof="0" dirty="0">
              <a:effectLst/>
              <a:uLnTx/>
              <a:uFillTx/>
              <a:latin typeface="Arial"/>
              <a:ea typeface="+mn-ea"/>
              <a:cs typeface="+mn-cs"/>
            </a:rPr>
            <a:t>identify gaps in data model and route to </a:t>
          </a:r>
          <a:r>
            <a:rPr kumimoji="0" lang="en-GB" sz="1050" b="1" i="0" u="none" strike="noStrike" kern="1200" cap="none" spc="0" normalizeH="0" baseline="0" noProof="0" dirty="0">
              <a:effectLst/>
              <a:uLnTx/>
              <a:uFillTx/>
              <a:latin typeface="Arial"/>
              <a:ea typeface="+mn-ea"/>
              <a:cs typeface="+mn-cs"/>
            </a:rPr>
            <a:t>remediation</a:t>
          </a:r>
          <a:r>
            <a:rPr kumimoji="0" lang="en-GB" sz="700" b="1" i="0" u="none" strike="noStrike" kern="1200" cap="none" spc="0" normalizeH="0" baseline="0" noProof="0" dirty="0">
              <a:effectLst/>
              <a:uLnTx/>
              <a:uFillTx/>
              <a:latin typeface="Arial"/>
              <a:ea typeface="+mn-ea"/>
              <a:cs typeface="+mn-cs"/>
            </a:rPr>
            <a:t>. </a:t>
          </a:r>
          <a:endParaRPr lang="en-AE" sz="700" b="1" kern="1200" dirty="0"/>
        </a:p>
        <a:p>
          <a:pPr marL="57150" lvl="1" indent="-57150" algn="l" defTabSz="311150">
            <a:lnSpc>
              <a:spcPct val="90000"/>
            </a:lnSpc>
            <a:spcBef>
              <a:spcPct val="0"/>
            </a:spcBef>
            <a:spcAft>
              <a:spcPct val="15000"/>
            </a:spcAft>
            <a:buChar char="•"/>
          </a:pPr>
          <a:r>
            <a:rPr kumimoji="0" lang="en-GB" sz="700" b="1" i="0" u="none" strike="noStrike" kern="1200" cap="none" spc="0" normalizeH="0" baseline="0" noProof="0" dirty="0">
              <a:effectLst/>
              <a:uLnTx/>
              <a:uFillTx/>
              <a:latin typeface="Arial"/>
              <a:ea typeface="+mn-ea"/>
              <a:cs typeface="+mn-cs"/>
            </a:rPr>
            <a:t>Deploy local processes and technology solutions to enable compliance by go-live date.</a:t>
          </a:r>
          <a:endParaRPr lang="en-AE" sz="700" b="1" kern="1200" dirty="0"/>
        </a:p>
      </dsp:txBody>
      <dsp:txXfrm>
        <a:off x="5055019" y="2053257"/>
        <a:ext cx="1388401" cy="815446"/>
      </dsp:txXfrm>
    </dsp:sp>
    <dsp:sp modelId="{A7588864-E961-460B-99AC-678C1AF4EBC7}">
      <dsp:nvSpPr>
        <dsp:cNvPr id="0" name=""/>
        <dsp:cNvSpPr/>
      </dsp:nvSpPr>
      <dsp:spPr>
        <a:xfrm rot="2700000">
          <a:off x="3468021" y="538336"/>
          <a:ext cx="1487174" cy="1487174"/>
        </a:xfrm>
        <a:prstGeom prst="teardrop">
          <a:avLst>
            <a:gd name="adj" fmla="val 100000"/>
          </a:avLst>
        </a:prstGeom>
        <a:gradFill rotWithShape="0">
          <a:gsLst>
            <a:gs pos="0">
              <a:schemeClr val="accent2">
                <a:hueOff val="0"/>
                <a:satOff val="0"/>
                <a:lumOff val="0"/>
                <a:alphaOff val="0"/>
                <a:tint val="96000"/>
                <a:lumMod val="102000"/>
              </a:schemeClr>
            </a:gs>
            <a:gs pos="100000">
              <a:schemeClr val="accent2">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dsp:spPr>
      <dsp:style>
        <a:lnRef idx="0">
          <a:scrgbClr r="0" g="0" b="0"/>
        </a:lnRef>
        <a:fillRef idx="3">
          <a:scrgbClr r="0" g="0" b="0"/>
        </a:fillRef>
        <a:effectRef idx="2">
          <a:scrgbClr r="0" g="0" b="0"/>
        </a:effectRef>
        <a:fontRef idx="minor">
          <a:schemeClr val="lt1"/>
        </a:fontRef>
      </dsp:style>
    </dsp:sp>
    <dsp:sp modelId="{E2C95BF8-AF96-44F8-8D3A-B7E0535EB101}">
      <dsp:nvSpPr>
        <dsp:cNvPr id="0" name=""/>
        <dsp:cNvSpPr/>
      </dsp:nvSpPr>
      <dsp:spPr>
        <a:xfrm>
          <a:off x="3517803" y="587854"/>
          <a:ext cx="1388401" cy="1388400"/>
        </a:xfrm>
        <a:prstGeom prst="ellipse">
          <a:avLst/>
        </a:prstGeom>
        <a:solidFill>
          <a:schemeClr val="accent1"/>
        </a:solidFill>
        <a:ln w="9525"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ep 3: ERP Gap Assessment</a:t>
          </a:r>
          <a:endParaRPr lang="en-AE" sz="1000" b="1" kern="1200" dirty="0">
            <a:solidFill>
              <a:schemeClr val="bg1"/>
            </a:solidFill>
          </a:endParaRPr>
        </a:p>
      </dsp:txBody>
      <dsp:txXfrm>
        <a:off x="3715694" y="786234"/>
        <a:ext cx="991828" cy="991639"/>
      </dsp:txXfrm>
    </dsp:sp>
    <dsp:sp modelId="{A095674F-C462-4C1C-BF30-E8F572AE411C}">
      <dsp:nvSpPr>
        <dsp:cNvPr id="0" name=""/>
        <dsp:cNvSpPr/>
      </dsp:nvSpPr>
      <dsp:spPr>
        <a:xfrm>
          <a:off x="3517803" y="2053257"/>
          <a:ext cx="1388401" cy="8154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57150" lvl="1" indent="-57150" algn="l" defTabSz="311150">
            <a:lnSpc>
              <a:spcPct val="90000"/>
            </a:lnSpc>
            <a:spcBef>
              <a:spcPct val="0"/>
            </a:spcBef>
            <a:spcAft>
              <a:spcPct val="15000"/>
            </a:spcAft>
            <a:buChar char="•"/>
          </a:pPr>
          <a:r>
            <a:rPr kumimoji="0" lang="en-GB" sz="700" b="1" i="0" u="none" strike="noStrike" kern="1200" cap="none" spc="0" normalizeH="0" baseline="0" noProof="0" dirty="0">
              <a:effectLst/>
              <a:uLnTx/>
              <a:uFillTx/>
              <a:latin typeface="Arial"/>
              <a:ea typeface="+mn-ea"/>
              <a:cs typeface="+mn-cs"/>
            </a:rPr>
            <a:t>This would include undertaking a gap analysis between the existing data fields in the ERP </a:t>
          </a:r>
          <a:r>
            <a:rPr kumimoji="0" lang="en-GB" sz="1050" b="1" i="0" u="none" strike="noStrike" kern="1200" cap="none" spc="0" normalizeH="0" baseline="0" noProof="0" dirty="0">
              <a:effectLst/>
              <a:uLnTx/>
              <a:uFillTx/>
              <a:latin typeface="Arial"/>
              <a:ea typeface="+mn-ea"/>
              <a:cs typeface="+mn-cs"/>
            </a:rPr>
            <a:t>vis-à-vis</a:t>
          </a:r>
          <a:r>
            <a:rPr kumimoji="0" lang="en-GB" sz="700" b="1" i="0" u="none" strike="noStrike" kern="1200" cap="none" spc="0" normalizeH="0" baseline="0" noProof="0" dirty="0">
              <a:effectLst/>
              <a:uLnTx/>
              <a:uFillTx/>
              <a:latin typeface="Arial"/>
              <a:ea typeface="+mn-ea"/>
              <a:cs typeface="+mn-cs"/>
            </a:rPr>
            <a:t> the e-invoicing PINT-AE</a:t>
          </a:r>
          <a:endParaRPr lang="en-AE" sz="700" b="1" kern="1200" dirty="0"/>
        </a:p>
        <a:p>
          <a:pPr marL="57150" lvl="1" indent="-57150" algn="l" defTabSz="311150">
            <a:lnSpc>
              <a:spcPct val="90000"/>
            </a:lnSpc>
            <a:spcBef>
              <a:spcPct val="0"/>
            </a:spcBef>
            <a:spcAft>
              <a:spcPct val="15000"/>
            </a:spcAft>
            <a:buChar char="•"/>
          </a:pPr>
          <a:endParaRPr lang="en-AE" sz="700" kern="1200"/>
        </a:p>
      </dsp:txBody>
      <dsp:txXfrm>
        <a:off x="3517803" y="2053257"/>
        <a:ext cx="1388401" cy="815446"/>
      </dsp:txXfrm>
    </dsp:sp>
    <dsp:sp modelId="{B3C6B417-8C7E-4C99-B958-2605C620C27C}">
      <dsp:nvSpPr>
        <dsp:cNvPr id="0" name=""/>
        <dsp:cNvSpPr/>
      </dsp:nvSpPr>
      <dsp:spPr>
        <a:xfrm rot="2700000">
          <a:off x="1930806" y="538336"/>
          <a:ext cx="1487174" cy="1487174"/>
        </a:xfrm>
        <a:prstGeom prst="teardrop">
          <a:avLst>
            <a:gd name="adj" fmla="val 100000"/>
          </a:avLst>
        </a:prstGeom>
        <a:solidFill>
          <a:schemeClr val="accent1"/>
        </a:solidFill>
        <a:ln>
          <a:noFill/>
        </a:ln>
        <a:effectLst>
          <a:reflection blurRad="12700" stA="26000" endPos="32000" dist="12700" dir="5400000" sy="-100000" rotWithShape="0"/>
        </a:effectLst>
      </dsp:spPr>
      <dsp:style>
        <a:lnRef idx="0">
          <a:scrgbClr r="0" g="0" b="0"/>
        </a:lnRef>
        <a:fillRef idx="3">
          <a:scrgbClr r="0" g="0" b="0"/>
        </a:fillRef>
        <a:effectRef idx="2">
          <a:scrgbClr r="0" g="0" b="0"/>
        </a:effectRef>
        <a:fontRef idx="minor">
          <a:schemeClr val="lt1"/>
        </a:fontRef>
      </dsp:style>
    </dsp:sp>
    <dsp:sp modelId="{E5984CCE-F4FF-4B3E-8269-F2199DA98C2C}">
      <dsp:nvSpPr>
        <dsp:cNvPr id="0" name=""/>
        <dsp:cNvSpPr/>
      </dsp:nvSpPr>
      <dsp:spPr>
        <a:xfrm>
          <a:off x="1980588" y="587854"/>
          <a:ext cx="1388401" cy="1388400"/>
        </a:xfrm>
        <a:prstGeom prst="ellipse">
          <a:avLst/>
        </a:prstGeom>
        <a:noFill/>
        <a:ln w="9525"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ep 2: ASP Selection assistance</a:t>
          </a:r>
          <a:endParaRPr lang="en-AE" sz="1000" b="1" kern="1200" dirty="0">
            <a:solidFill>
              <a:schemeClr val="bg1"/>
            </a:solidFill>
          </a:endParaRPr>
        </a:p>
      </dsp:txBody>
      <dsp:txXfrm>
        <a:off x="2179270" y="786234"/>
        <a:ext cx="991828" cy="991639"/>
      </dsp:txXfrm>
    </dsp:sp>
    <dsp:sp modelId="{332441A8-C79B-4F72-B6F2-1628667DAF7F}">
      <dsp:nvSpPr>
        <dsp:cNvPr id="0" name=""/>
        <dsp:cNvSpPr/>
      </dsp:nvSpPr>
      <dsp:spPr>
        <a:xfrm>
          <a:off x="1980588" y="2053257"/>
          <a:ext cx="1388401" cy="8154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57150" lvl="1" indent="-57150" algn="l" defTabSz="311150">
            <a:lnSpc>
              <a:spcPct val="90000"/>
            </a:lnSpc>
            <a:spcBef>
              <a:spcPct val="0"/>
            </a:spcBef>
            <a:spcAft>
              <a:spcPct val="15000"/>
            </a:spcAft>
            <a:buChar char="•"/>
          </a:pPr>
          <a:r>
            <a:rPr lang="en-US" sz="700" b="1" kern="1200"/>
            <a:t>Conducting demos with the shortlisted ASPs</a:t>
          </a:r>
          <a:endParaRPr lang="en-AE" sz="700" b="1" kern="1200"/>
        </a:p>
        <a:p>
          <a:pPr marL="57150" lvl="1" indent="-57150" algn="l" defTabSz="311150">
            <a:lnSpc>
              <a:spcPct val="90000"/>
            </a:lnSpc>
            <a:spcBef>
              <a:spcPct val="0"/>
            </a:spcBef>
            <a:spcAft>
              <a:spcPct val="15000"/>
            </a:spcAft>
            <a:buChar char="•"/>
          </a:pPr>
          <a:r>
            <a:rPr lang="en-US" sz="700" b="1" kern="1200" dirty="0"/>
            <a:t>Assisting with </a:t>
          </a:r>
          <a:r>
            <a:rPr lang="en-US" sz="1050" b="1" kern="1200" dirty="0"/>
            <a:t>finalizing</a:t>
          </a:r>
          <a:r>
            <a:rPr lang="en-US" sz="700" b="1" kern="1200" dirty="0"/>
            <a:t> the right ASP for the company</a:t>
          </a:r>
          <a:endParaRPr lang="en-AE" sz="700" b="1" kern="1200" dirty="0"/>
        </a:p>
      </dsp:txBody>
      <dsp:txXfrm>
        <a:off x="1980588" y="2053257"/>
        <a:ext cx="1388401" cy="815446"/>
      </dsp:txXfrm>
    </dsp:sp>
    <dsp:sp modelId="{E83EF9DC-9D01-4CF6-A769-082209DC6E26}">
      <dsp:nvSpPr>
        <dsp:cNvPr id="0" name=""/>
        <dsp:cNvSpPr/>
      </dsp:nvSpPr>
      <dsp:spPr>
        <a:xfrm rot="2700000">
          <a:off x="393590" y="538336"/>
          <a:ext cx="1487174" cy="1487174"/>
        </a:xfrm>
        <a:prstGeom prst="teardrop">
          <a:avLst>
            <a:gd name="adj" fmla="val 100000"/>
          </a:avLst>
        </a:prstGeom>
        <a:gradFill rotWithShape="0">
          <a:gsLst>
            <a:gs pos="0">
              <a:schemeClr val="accent2">
                <a:hueOff val="0"/>
                <a:satOff val="0"/>
                <a:lumOff val="0"/>
                <a:alphaOff val="0"/>
                <a:tint val="96000"/>
                <a:lumMod val="102000"/>
              </a:schemeClr>
            </a:gs>
            <a:gs pos="100000">
              <a:schemeClr val="accent2">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dsp:spPr>
      <dsp:style>
        <a:lnRef idx="0">
          <a:scrgbClr r="0" g="0" b="0"/>
        </a:lnRef>
        <a:fillRef idx="3">
          <a:scrgbClr r="0" g="0" b="0"/>
        </a:fillRef>
        <a:effectRef idx="2">
          <a:scrgbClr r="0" g="0" b="0"/>
        </a:effectRef>
        <a:fontRef idx="minor">
          <a:schemeClr val="lt1"/>
        </a:fontRef>
      </dsp:style>
    </dsp:sp>
    <dsp:sp modelId="{9C5F8F3C-36D8-442F-8E88-3298A72C1BC3}">
      <dsp:nvSpPr>
        <dsp:cNvPr id="0" name=""/>
        <dsp:cNvSpPr/>
      </dsp:nvSpPr>
      <dsp:spPr>
        <a:xfrm>
          <a:off x="443373" y="587854"/>
          <a:ext cx="1388401" cy="1388400"/>
        </a:xfrm>
        <a:prstGeom prst="ellipse">
          <a:avLst/>
        </a:prstGeom>
        <a:solidFill>
          <a:schemeClr val="accent1"/>
        </a:solidFill>
        <a:ln w="9525"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ep 1: Tax Impact Assessment</a:t>
          </a:r>
          <a:endParaRPr lang="en-AE" sz="1000" b="1" kern="1200" dirty="0">
            <a:solidFill>
              <a:schemeClr val="bg1"/>
            </a:solidFill>
          </a:endParaRPr>
        </a:p>
      </dsp:txBody>
      <dsp:txXfrm>
        <a:off x="642055" y="786234"/>
        <a:ext cx="991828" cy="991639"/>
      </dsp:txXfrm>
    </dsp:sp>
    <dsp:sp modelId="{CF89AB99-A7ED-40D1-B580-BF78E7C57E19}">
      <dsp:nvSpPr>
        <dsp:cNvPr id="0" name=""/>
        <dsp:cNvSpPr/>
      </dsp:nvSpPr>
      <dsp:spPr>
        <a:xfrm>
          <a:off x="443373" y="2053257"/>
          <a:ext cx="1388401" cy="8154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57150" lvl="1" indent="-57150" algn="l" defTabSz="311150">
            <a:lnSpc>
              <a:spcPct val="90000"/>
            </a:lnSpc>
            <a:spcBef>
              <a:spcPct val="0"/>
            </a:spcBef>
            <a:spcAft>
              <a:spcPct val="15000"/>
            </a:spcAft>
            <a:buChar char="•"/>
          </a:pPr>
          <a:r>
            <a:rPr lang="en-US" sz="700" b="1" kern="1200" dirty="0"/>
            <a:t>Plugging </a:t>
          </a:r>
          <a:r>
            <a:rPr lang="en-US" sz="1010" b="1" kern="1200" baseline="0" dirty="0"/>
            <a:t>existing</a:t>
          </a:r>
          <a:r>
            <a:rPr lang="en-US" sz="700" b="1" kern="1200" dirty="0"/>
            <a:t> VAT leakages</a:t>
          </a:r>
          <a:endParaRPr lang="en-AE" sz="700" b="1" kern="1200" dirty="0"/>
        </a:p>
        <a:p>
          <a:pPr marL="57150" lvl="1" indent="-57150" algn="l" defTabSz="311150">
            <a:lnSpc>
              <a:spcPct val="90000"/>
            </a:lnSpc>
            <a:spcBef>
              <a:spcPct val="0"/>
            </a:spcBef>
            <a:spcAft>
              <a:spcPct val="15000"/>
            </a:spcAft>
            <a:buChar char="•"/>
          </a:pPr>
          <a:r>
            <a:rPr lang="en-US" sz="700" b="1" kern="1200" dirty="0"/>
            <a:t>Use case </a:t>
          </a:r>
          <a:r>
            <a:rPr lang="en-US" sz="1050" b="1" kern="1200" baseline="0" dirty="0"/>
            <a:t>transaction</a:t>
          </a:r>
          <a:r>
            <a:rPr lang="en-US" sz="700" b="1" kern="1200" dirty="0"/>
            <a:t> wise mapping</a:t>
          </a:r>
          <a:endParaRPr lang="en-AE" sz="700" b="1" kern="1200" dirty="0"/>
        </a:p>
      </dsp:txBody>
      <dsp:txXfrm>
        <a:off x="443373" y="2053257"/>
        <a:ext cx="1388401" cy="8154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5EBB33-4487-4323-8102-A89F09E857EF}">
      <dsp:nvSpPr>
        <dsp:cNvPr id="0" name=""/>
        <dsp:cNvSpPr/>
      </dsp:nvSpPr>
      <dsp:spPr>
        <a:xfrm rot="5400000">
          <a:off x="341410" y="1334396"/>
          <a:ext cx="1011616" cy="1683307"/>
        </a:xfrm>
        <a:prstGeom prst="corner">
          <a:avLst>
            <a:gd name="adj1" fmla="val 16120"/>
            <a:gd name="adj2" fmla="val 1611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588A15-0E18-4A2F-A237-99950492B827}">
      <dsp:nvSpPr>
        <dsp:cNvPr id="0" name=""/>
        <dsp:cNvSpPr/>
      </dsp:nvSpPr>
      <dsp:spPr>
        <a:xfrm>
          <a:off x="172546" y="1837343"/>
          <a:ext cx="1519699" cy="133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ClrTx/>
            <a:buSzTx/>
            <a:buFontTx/>
            <a:buNone/>
          </a:pPr>
          <a:r>
            <a:rPr kumimoji="0" lang="en-GB" sz="1000" b="1" i="0" u="none" strike="noStrike" kern="1200" cap="none" spc="0" normalizeH="0" baseline="0" noProof="0" dirty="0">
              <a:ln/>
              <a:solidFill>
                <a:schemeClr val="bg2"/>
              </a:solidFill>
              <a:effectLst/>
              <a:uLnTx/>
              <a:uFillTx/>
              <a:latin typeface="Arial (Body)"/>
            </a:rPr>
            <a:t>ERP data management</a:t>
          </a:r>
          <a:endParaRPr lang="en-AE" sz="1000" b="1" kern="1200" dirty="0">
            <a:solidFill>
              <a:schemeClr val="bg2"/>
            </a:solidFill>
          </a:endParaRPr>
        </a:p>
        <a:p>
          <a:pPr marL="57150" lvl="1" indent="-57150" algn="l" defTabSz="444500">
            <a:lnSpc>
              <a:spcPct val="90000"/>
            </a:lnSpc>
            <a:spcBef>
              <a:spcPct val="0"/>
            </a:spcBef>
            <a:spcAft>
              <a:spcPct val="15000"/>
            </a:spcAft>
            <a:buFont typeface="Arial" panose="020B0604020202020204" pitchFamily="34" charset="0"/>
            <a:buChar char="•"/>
          </a:pPr>
          <a:r>
            <a:rPr kumimoji="0" lang="en-GB" sz="1000" b="1" i="0" u="none" strike="noStrike" kern="1200" cap="none" spc="0" normalizeH="0" baseline="0" noProof="0" dirty="0">
              <a:ln/>
              <a:solidFill>
                <a:schemeClr val="tx2"/>
              </a:solidFill>
              <a:effectLst/>
              <a:uLnTx/>
              <a:uFillTx/>
              <a:latin typeface="Arial (Body)"/>
            </a:rPr>
            <a:t>Do you have enough granularity of customer</a:t>
          </a:r>
          <a:r>
            <a:rPr lang="en-GB" sz="1000" b="1" kern="1200" dirty="0">
              <a:solidFill>
                <a:schemeClr val="tx2"/>
              </a:solidFill>
              <a:latin typeface="Arial (Body)"/>
            </a:rPr>
            <a:t>/supplier</a:t>
          </a:r>
          <a:r>
            <a:rPr kumimoji="0" lang="en-GB" sz="1000" b="1" i="0" u="none" strike="noStrike" kern="1200" cap="none" spc="0" normalizeH="0" baseline="0" noProof="0" dirty="0">
              <a:ln/>
              <a:solidFill>
                <a:schemeClr val="tx2"/>
              </a:solidFill>
              <a:effectLst/>
              <a:uLnTx/>
              <a:uFillTx/>
              <a:latin typeface="Arial (Body)"/>
            </a:rPr>
            <a:t> information?</a:t>
          </a:r>
          <a:r>
            <a:rPr lang="en-GB" sz="1000" b="1" kern="1200" dirty="0">
              <a:solidFill>
                <a:schemeClr val="tx2"/>
              </a:solidFill>
              <a:latin typeface="Arial (Body)"/>
            </a:rPr>
            <a:t> </a:t>
          </a:r>
          <a:endParaRPr lang="en-AE" sz="1000" b="1" kern="1200" dirty="0">
            <a:solidFill>
              <a:schemeClr val="tx2"/>
            </a:solidFill>
          </a:endParaRPr>
        </a:p>
        <a:p>
          <a:pPr marL="57150" lvl="1" indent="-57150" algn="l" defTabSz="444500">
            <a:lnSpc>
              <a:spcPct val="90000"/>
            </a:lnSpc>
            <a:spcBef>
              <a:spcPct val="0"/>
            </a:spcBef>
            <a:spcAft>
              <a:spcPct val="15000"/>
            </a:spcAft>
            <a:buChar char="•"/>
          </a:pPr>
          <a:r>
            <a:rPr lang="en-GB" sz="1000" b="1" kern="1200" dirty="0">
              <a:solidFill>
                <a:schemeClr val="tx2"/>
              </a:solidFill>
              <a:latin typeface="Arial (Body)"/>
            </a:rPr>
            <a:t>Is Master data management reasonably accurate? What gaps exist? </a:t>
          </a:r>
          <a:endParaRPr lang="en-GB" sz="1000" b="1" i="0" u="none" strike="noStrike" kern="1200" cap="none" spc="0" normalizeH="0" baseline="0" noProof="0" dirty="0">
            <a:ln/>
            <a:solidFill>
              <a:schemeClr val="tx2"/>
            </a:solidFill>
            <a:effectLst/>
            <a:uLnTx/>
            <a:uFillTx/>
            <a:latin typeface="Arial (Body)"/>
            <a:cs typeface="Arial"/>
          </a:endParaRPr>
        </a:p>
        <a:p>
          <a:pPr marL="57150" lvl="1" indent="-57150" algn="l" defTabSz="444500">
            <a:lnSpc>
              <a:spcPct val="90000"/>
            </a:lnSpc>
            <a:spcBef>
              <a:spcPct val="0"/>
            </a:spcBef>
            <a:spcAft>
              <a:spcPct val="15000"/>
            </a:spcAft>
            <a:buChar char="•"/>
          </a:pPr>
          <a:r>
            <a:rPr lang="en-GB" sz="1000" b="1" kern="1200" dirty="0">
              <a:solidFill>
                <a:schemeClr val="tx2"/>
              </a:solidFill>
              <a:latin typeface="Arial (Body)"/>
            </a:rPr>
            <a:t>E-invoicing</a:t>
          </a:r>
          <a:r>
            <a:rPr kumimoji="0" lang="en-GB" sz="1000" b="1" i="0" u="none" strike="noStrike" kern="1200" cap="none" spc="0" normalizeH="0" baseline="0" noProof="0" dirty="0">
              <a:ln/>
              <a:solidFill>
                <a:schemeClr val="tx2"/>
              </a:solidFill>
              <a:effectLst/>
              <a:uLnTx/>
              <a:uFillTx/>
              <a:latin typeface="Arial (Body)"/>
            </a:rPr>
            <a:t> places much greater pressure on the effective management of accurate source data.</a:t>
          </a:r>
          <a:endParaRPr lang="en-GB" sz="1000" b="1" kern="1200" dirty="0">
            <a:solidFill>
              <a:schemeClr val="tx2"/>
            </a:solidFill>
            <a:latin typeface="Arial (Body)"/>
            <a:cs typeface="Arial"/>
          </a:endParaRPr>
        </a:p>
      </dsp:txBody>
      <dsp:txXfrm>
        <a:off x="172546" y="1837343"/>
        <a:ext cx="1519699" cy="1332105"/>
      </dsp:txXfrm>
    </dsp:sp>
    <dsp:sp modelId="{103AFB7C-E576-43CC-8A3D-31AC728C4A07}">
      <dsp:nvSpPr>
        <dsp:cNvPr id="0" name=""/>
        <dsp:cNvSpPr/>
      </dsp:nvSpPr>
      <dsp:spPr>
        <a:xfrm>
          <a:off x="1405509" y="1210469"/>
          <a:ext cx="286735" cy="286735"/>
        </a:xfrm>
        <a:prstGeom prst="triangle">
          <a:avLst>
            <a:gd name="adj" fmla="val 10000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6F627F-A17E-4C58-86B1-EA6747226341}">
      <dsp:nvSpPr>
        <dsp:cNvPr id="0" name=""/>
        <dsp:cNvSpPr/>
      </dsp:nvSpPr>
      <dsp:spPr>
        <a:xfrm rot="5400000">
          <a:off x="2178572" y="858538"/>
          <a:ext cx="1011616" cy="1683307"/>
        </a:xfrm>
        <a:prstGeom prst="corner">
          <a:avLst>
            <a:gd name="adj1" fmla="val 16120"/>
            <a:gd name="adj2" fmla="val 1611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BF18E6-203D-4946-A232-D5B127FD113B}">
      <dsp:nvSpPr>
        <dsp:cNvPr id="0" name=""/>
        <dsp:cNvSpPr/>
      </dsp:nvSpPr>
      <dsp:spPr>
        <a:xfrm>
          <a:off x="2032955" y="1376983"/>
          <a:ext cx="1519699" cy="133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US" sz="1000" b="1" kern="1200" dirty="0">
              <a:solidFill>
                <a:schemeClr val="bg2"/>
              </a:solidFill>
            </a:rPr>
            <a:t>Project management</a:t>
          </a:r>
          <a:endParaRPr lang="en-AE" sz="1000" b="1" kern="1200" dirty="0">
            <a:solidFill>
              <a:schemeClr val="bg2"/>
            </a:solidFill>
          </a:endParaRPr>
        </a:p>
        <a:p>
          <a:pPr marL="57150" lvl="1" indent="-57150" algn="l" defTabSz="466725">
            <a:lnSpc>
              <a:spcPct val="90000"/>
            </a:lnSpc>
            <a:spcBef>
              <a:spcPct val="0"/>
            </a:spcBef>
            <a:spcAft>
              <a:spcPct val="15000"/>
            </a:spcAft>
            <a:buClrTx/>
            <a:buSzTx/>
            <a:buFont typeface="Arial" panose="020B0604020202020204" pitchFamily="34" charset="0"/>
            <a:buChar char="•"/>
          </a:pPr>
          <a:r>
            <a:rPr lang="en-US" sz="1050" b="1" kern="1200" dirty="0">
              <a:solidFill>
                <a:schemeClr val="tx2"/>
              </a:solidFill>
            </a:rPr>
            <a:t>A successful implementation requires a cross functional approach including IT, Finance, Tax and others.</a:t>
          </a:r>
          <a:endParaRPr lang="en-AE" sz="1050" b="1" kern="1200" dirty="0">
            <a:solidFill>
              <a:schemeClr val="tx2"/>
            </a:solidFill>
          </a:endParaRPr>
        </a:p>
        <a:p>
          <a:pPr marL="57150" lvl="1" indent="-57150" algn="l" defTabSz="466725">
            <a:lnSpc>
              <a:spcPct val="90000"/>
            </a:lnSpc>
            <a:spcBef>
              <a:spcPct val="0"/>
            </a:spcBef>
            <a:spcAft>
              <a:spcPct val="15000"/>
            </a:spcAft>
            <a:buClrTx/>
            <a:buSzTx/>
            <a:buFont typeface="Arial" panose="020B0604020202020204" pitchFamily="34" charset="0"/>
            <a:buChar char="•"/>
          </a:pPr>
          <a:r>
            <a:rPr lang="en-US" sz="1050" b="1" kern="1200" dirty="0">
              <a:solidFill>
                <a:schemeClr val="tx2"/>
              </a:solidFill>
            </a:rPr>
            <a:t>Businesses should have an implementation roadmap and governance structure early to ensure a smooth transition.</a:t>
          </a:r>
          <a:endParaRPr lang="en-AE" sz="1050" b="1" kern="1200" dirty="0">
            <a:solidFill>
              <a:schemeClr val="tx2"/>
            </a:solidFill>
          </a:endParaRPr>
        </a:p>
      </dsp:txBody>
      <dsp:txXfrm>
        <a:off x="2032955" y="1376983"/>
        <a:ext cx="1519699" cy="1332105"/>
      </dsp:txXfrm>
    </dsp:sp>
    <dsp:sp modelId="{AE1331E9-3314-4829-BE21-FD4F282909E7}">
      <dsp:nvSpPr>
        <dsp:cNvPr id="0" name=""/>
        <dsp:cNvSpPr/>
      </dsp:nvSpPr>
      <dsp:spPr>
        <a:xfrm>
          <a:off x="3265918" y="750109"/>
          <a:ext cx="286735" cy="286735"/>
        </a:xfrm>
        <a:prstGeom prst="triangle">
          <a:avLst>
            <a:gd name="adj" fmla="val 10000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6C2D60-3907-4375-B89F-E237DB566A73}">
      <dsp:nvSpPr>
        <dsp:cNvPr id="0" name=""/>
        <dsp:cNvSpPr/>
      </dsp:nvSpPr>
      <dsp:spPr>
        <a:xfrm rot="5400000">
          <a:off x="4062227" y="413676"/>
          <a:ext cx="1011616" cy="1683307"/>
        </a:xfrm>
        <a:prstGeom prst="corner">
          <a:avLst>
            <a:gd name="adj1" fmla="val 16120"/>
            <a:gd name="adj2" fmla="val 1611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37EE76-1F62-4710-BDDE-47B2F2826E28}">
      <dsp:nvSpPr>
        <dsp:cNvPr id="0" name=""/>
        <dsp:cNvSpPr/>
      </dsp:nvSpPr>
      <dsp:spPr>
        <a:xfrm>
          <a:off x="3893363" y="916623"/>
          <a:ext cx="1519699" cy="133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ClrTx/>
            <a:buSzTx/>
            <a:buFontTx/>
            <a:buNone/>
          </a:pPr>
          <a:r>
            <a:rPr lang="en-GB" sz="1000" b="1" kern="1200" dirty="0">
              <a:solidFill>
                <a:schemeClr val="bg2"/>
              </a:solidFill>
              <a:latin typeface="Arial (Body)"/>
            </a:rPr>
            <a:t>AR &amp; AP Processes</a:t>
          </a:r>
          <a:endParaRPr lang="en-AE" sz="1000" b="1" kern="1200" dirty="0">
            <a:solidFill>
              <a:schemeClr val="bg2"/>
            </a:solidFill>
          </a:endParaRPr>
        </a:p>
        <a:p>
          <a:pPr marL="57150" lvl="1" indent="-57150" algn="l" defTabSz="444500">
            <a:lnSpc>
              <a:spcPct val="90000"/>
            </a:lnSpc>
            <a:spcBef>
              <a:spcPct val="0"/>
            </a:spcBef>
            <a:spcAft>
              <a:spcPct val="15000"/>
            </a:spcAft>
            <a:buClrTx/>
            <a:buSzTx/>
            <a:buFont typeface="Arial" panose="020B0604020202020204" pitchFamily="34" charset="0"/>
            <a:buChar char="•"/>
          </a:pPr>
          <a:r>
            <a:rPr lang="en-GB" sz="1000" b="1" kern="1200" dirty="0">
              <a:solidFill>
                <a:schemeClr val="tx2"/>
              </a:solidFill>
              <a:latin typeface="Arial (Body)"/>
            </a:rPr>
            <a:t>In 5-corner model, e-invoicing is not only impacting the AR process.</a:t>
          </a:r>
          <a:endParaRPr lang="en-AE" sz="1000" b="1" kern="1200" dirty="0">
            <a:solidFill>
              <a:schemeClr val="tx2"/>
            </a:solidFill>
          </a:endParaRPr>
        </a:p>
        <a:p>
          <a:pPr marL="57150" lvl="1" indent="-57150" algn="l" defTabSz="444500">
            <a:lnSpc>
              <a:spcPct val="90000"/>
            </a:lnSpc>
            <a:spcBef>
              <a:spcPct val="0"/>
            </a:spcBef>
            <a:spcAft>
              <a:spcPct val="15000"/>
            </a:spcAft>
            <a:buClrTx/>
            <a:buSzTx/>
            <a:buFont typeface="Arial" panose="020B0604020202020204" pitchFamily="34" charset="0"/>
            <a:buChar char="•"/>
          </a:pPr>
          <a:r>
            <a:rPr lang="en-GB" sz="1000" b="1" kern="1200" dirty="0">
              <a:solidFill>
                <a:schemeClr val="tx2"/>
              </a:solidFill>
              <a:latin typeface="Arial (Body)"/>
            </a:rPr>
            <a:t>As there is a direct flow to the recipient, receipt of </a:t>
          </a:r>
          <a:r>
            <a:rPr kumimoji="0" lang="en-GB" sz="1000" b="1" i="0" u="none" strike="noStrike" kern="1200" cap="none" spc="0" normalizeH="0" baseline="0" noProof="0" dirty="0">
              <a:ln/>
              <a:solidFill>
                <a:schemeClr val="tx2"/>
              </a:solidFill>
              <a:effectLst/>
              <a:uLnTx/>
              <a:uFillTx/>
              <a:latin typeface="Arial (Body)"/>
            </a:rPr>
            <a:t>e-invoices can lead to automation from AP perspective.</a:t>
          </a:r>
          <a:endParaRPr lang="en-AE" sz="1000" b="1" kern="1200" dirty="0">
            <a:solidFill>
              <a:schemeClr val="tx2"/>
            </a:solidFill>
          </a:endParaRPr>
        </a:p>
        <a:p>
          <a:pPr marL="57150" lvl="1" indent="-57150" algn="l" defTabSz="444500">
            <a:lnSpc>
              <a:spcPct val="90000"/>
            </a:lnSpc>
            <a:spcBef>
              <a:spcPct val="0"/>
            </a:spcBef>
            <a:spcAft>
              <a:spcPct val="15000"/>
            </a:spcAft>
            <a:buClrTx/>
            <a:buSzTx/>
            <a:buFont typeface="Arial" panose="020B0604020202020204" pitchFamily="34" charset="0"/>
            <a:buChar char="•"/>
          </a:pPr>
          <a:r>
            <a:rPr lang="en-GB" sz="1000" b="1" kern="1200" dirty="0">
              <a:solidFill>
                <a:schemeClr val="tx2"/>
              </a:solidFill>
              <a:latin typeface="Arial (Body)"/>
            </a:rPr>
            <a:t>Therefore,</a:t>
          </a:r>
          <a:r>
            <a:rPr kumimoji="0" lang="en-GB" sz="1000" b="1" i="0" u="none" strike="noStrike" kern="1200" cap="none" spc="0" normalizeH="0" baseline="0" noProof="0" dirty="0">
              <a:ln/>
              <a:solidFill>
                <a:schemeClr val="tx2"/>
              </a:solidFill>
              <a:effectLst/>
              <a:uLnTx/>
              <a:uFillTx/>
              <a:latin typeface="Arial (Body)"/>
            </a:rPr>
            <a:t> potential changes to AP processes and systems also need to be evaluated.</a:t>
          </a:r>
          <a:endParaRPr lang="en-AE" sz="1000" b="1" kern="1200" dirty="0">
            <a:solidFill>
              <a:schemeClr val="tx2"/>
            </a:solidFill>
          </a:endParaRPr>
        </a:p>
      </dsp:txBody>
      <dsp:txXfrm>
        <a:off x="3893363" y="916623"/>
        <a:ext cx="1519699" cy="1332105"/>
      </dsp:txXfrm>
    </dsp:sp>
    <dsp:sp modelId="{3284257E-20EC-4826-8A81-F86755075684}">
      <dsp:nvSpPr>
        <dsp:cNvPr id="0" name=""/>
        <dsp:cNvSpPr/>
      </dsp:nvSpPr>
      <dsp:spPr>
        <a:xfrm>
          <a:off x="5126327" y="289749"/>
          <a:ext cx="286735" cy="286735"/>
        </a:xfrm>
        <a:prstGeom prst="triangle">
          <a:avLst>
            <a:gd name="adj" fmla="val 10000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7B1110-ADE9-4F76-AAFF-3DE85044492E}">
      <dsp:nvSpPr>
        <dsp:cNvPr id="0" name=""/>
        <dsp:cNvSpPr/>
      </dsp:nvSpPr>
      <dsp:spPr>
        <a:xfrm rot="5400000">
          <a:off x="5922636" y="-46683"/>
          <a:ext cx="1011616" cy="1683307"/>
        </a:xfrm>
        <a:prstGeom prst="corner">
          <a:avLst>
            <a:gd name="adj1" fmla="val 16120"/>
            <a:gd name="adj2" fmla="val 16110"/>
          </a:avLst>
        </a:prstGeom>
        <a:solidFill>
          <a:schemeClr val="lt1">
            <a:hueOff val="0"/>
            <a:satOff val="0"/>
            <a:lumOff val="0"/>
            <a:alphaOff val="0"/>
          </a:schemeClr>
        </a:solidFill>
        <a:ln w="1587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72DD45-15FF-438F-97BB-23C30240E87D}">
      <dsp:nvSpPr>
        <dsp:cNvPr id="0" name=""/>
        <dsp:cNvSpPr/>
      </dsp:nvSpPr>
      <dsp:spPr>
        <a:xfrm>
          <a:off x="5753772" y="456263"/>
          <a:ext cx="1519699" cy="133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ClrTx/>
            <a:buSzTx/>
            <a:buFontTx/>
            <a:buNone/>
          </a:pPr>
          <a:r>
            <a:rPr lang="en-GB" sz="1000" b="1" kern="1200" dirty="0">
              <a:solidFill>
                <a:schemeClr val="bg2"/>
              </a:solidFill>
              <a:latin typeface="Arial (Body)"/>
            </a:rPr>
            <a:t>Phased Timelines</a:t>
          </a:r>
          <a:endParaRPr lang="en-AE" sz="1000" b="1" kern="1200" dirty="0">
            <a:solidFill>
              <a:schemeClr val="bg2"/>
            </a:solidFill>
          </a:endParaRPr>
        </a:p>
        <a:p>
          <a:pPr marL="57150" lvl="1" indent="-57150" algn="l" defTabSz="444500">
            <a:lnSpc>
              <a:spcPct val="90000"/>
            </a:lnSpc>
            <a:spcBef>
              <a:spcPct val="0"/>
            </a:spcBef>
            <a:spcAft>
              <a:spcPct val="15000"/>
            </a:spcAft>
            <a:buClrTx/>
            <a:buSzTx/>
            <a:buFont typeface="Arial" panose="020B0604020202020204" pitchFamily="34" charset="0"/>
            <a:buChar char="•"/>
          </a:pPr>
          <a:r>
            <a:rPr kumimoji="0" lang="en-GB" sz="1000" b="1" i="0" u="none" strike="noStrike" kern="1200" cap="none" spc="0" normalizeH="0" baseline="0" noProof="0" dirty="0">
              <a:ln/>
              <a:solidFill>
                <a:schemeClr val="tx2"/>
              </a:solidFill>
              <a:effectLst/>
              <a:uLnTx/>
              <a:uFillTx/>
              <a:latin typeface="Arial (Body)"/>
            </a:rPr>
            <a:t>Phased approach on the market</a:t>
          </a:r>
          <a:endParaRPr lang="en-AE" sz="1000" b="1" kern="1200" dirty="0">
            <a:solidFill>
              <a:schemeClr val="tx2"/>
            </a:solidFill>
          </a:endParaRPr>
        </a:p>
        <a:p>
          <a:pPr marL="57150" lvl="1" indent="-57150" algn="l" defTabSz="444500">
            <a:lnSpc>
              <a:spcPct val="90000"/>
            </a:lnSpc>
            <a:spcBef>
              <a:spcPct val="0"/>
            </a:spcBef>
            <a:spcAft>
              <a:spcPct val="15000"/>
            </a:spcAft>
            <a:buClrTx/>
            <a:buSzTx/>
            <a:buFont typeface="Arial" panose="020B0604020202020204" pitchFamily="34" charset="0"/>
            <a:buChar char="•"/>
          </a:pPr>
          <a:r>
            <a:rPr lang="en-GB" sz="1000" b="1" kern="1200" dirty="0">
              <a:solidFill>
                <a:schemeClr val="tx2"/>
              </a:solidFill>
              <a:latin typeface="Arial (Body)"/>
            </a:rPr>
            <a:t>Integration with suppliers’ timelines</a:t>
          </a:r>
          <a:endParaRPr lang="en-AE" sz="1000" b="1" kern="1200" dirty="0">
            <a:solidFill>
              <a:schemeClr val="tx2"/>
            </a:solidFill>
          </a:endParaRPr>
        </a:p>
      </dsp:txBody>
      <dsp:txXfrm>
        <a:off x="5753772" y="456263"/>
        <a:ext cx="1519699" cy="1332105"/>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4dfce81f19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 name="Google Shape;125;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a:extLst>
            <a:ext uri="{FF2B5EF4-FFF2-40B4-BE49-F238E27FC236}">
              <a16:creationId xmlns:a16="http://schemas.microsoft.com/office/drawing/2014/main" id="{46F063A1-8426-4C0A-7BE4-EB1577E2192D}"/>
            </a:ext>
          </a:extLst>
        </p:cNvPr>
        <p:cNvGrpSpPr/>
        <p:nvPr/>
      </p:nvGrpSpPr>
      <p:grpSpPr>
        <a:xfrm>
          <a:off x="0" y="0"/>
          <a:ext cx="0" cy="0"/>
          <a:chOff x="0" y="0"/>
          <a:chExt cx="0" cy="0"/>
        </a:xfrm>
      </p:grpSpPr>
      <p:sp>
        <p:nvSpPr>
          <p:cNvPr id="154" name="Google Shape;154;g54dda1946d_6_322:notes">
            <a:extLst>
              <a:ext uri="{FF2B5EF4-FFF2-40B4-BE49-F238E27FC236}">
                <a16:creationId xmlns:a16="http://schemas.microsoft.com/office/drawing/2014/main" id="{187E651E-E74E-1AE0-12F4-B728E84934E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54dda1946d_6_322:notes">
            <a:extLst>
              <a:ext uri="{FF2B5EF4-FFF2-40B4-BE49-F238E27FC236}">
                <a16:creationId xmlns:a16="http://schemas.microsoft.com/office/drawing/2014/main" id="{AED89602-7380-F577-78D7-689759B98E2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23840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a:extLst>
            <a:ext uri="{FF2B5EF4-FFF2-40B4-BE49-F238E27FC236}">
              <a16:creationId xmlns:a16="http://schemas.microsoft.com/office/drawing/2014/main" id="{6EC595BC-0203-2C74-B757-43CE0D472912}"/>
            </a:ext>
          </a:extLst>
        </p:cNvPr>
        <p:cNvGrpSpPr/>
        <p:nvPr/>
      </p:nvGrpSpPr>
      <p:grpSpPr>
        <a:xfrm>
          <a:off x="0" y="0"/>
          <a:ext cx="0" cy="0"/>
          <a:chOff x="0" y="0"/>
          <a:chExt cx="0" cy="0"/>
        </a:xfrm>
      </p:grpSpPr>
      <p:sp>
        <p:nvSpPr>
          <p:cNvPr id="154" name="Google Shape;154;g54dda1946d_6_322:notes">
            <a:extLst>
              <a:ext uri="{FF2B5EF4-FFF2-40B4-BE49-F238E27FC236}">
                <a16:creationId xmlns:a16="http://schemas.microsoft.com/office/drawing/2014/main" id="{A72B6887-0BC8-2FE8-2D2D-C0AE21C5885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54dda1946d_6_322:notes">
            <a:extLst>
              <a:ext uri="{FF2B5EF4-FFF2-40B4-BE49-F238E27FC236}">
                <a16:creationId xmlns:a16="http://schemas.microsoft.com/office/drawing/2014/main" id="{DD42A0C9-A8DA-F3D5-4263-D4F0A83EFE2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983028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a:extLst>
            <a:ext uri="{FF2B5EF4-FFF2-40B4-BE49-F238E27FC236}">
              <a16:creationId xmlns:a16="http://schemas.microsoft.com/office/drawing/2014/main" id="{F1095A94-211F-46EF-91C8-A3F1968CF1B5}"/>
            </a:ext>
          </a:extLst>
        </p:cNvPr>
        <p:cNvGrpSpPr/>
        <p:nvPr/>
      </p:nvGrpSpPr>
      <p:grpSpPr>
        <a:xfrm>
          <a:off x="0" y="0"/>
          <a:ext cx="0" cy="0"/>
          <a:chOff x="0" y="0"/>
          <a:chExt cx="0" cy="0"/>
        </a:xfrm>
      </p:grpSpPr>
      <p:sp>
        <p:nvSpPr>
          <p:cNvPr id="154" name="Google Shape;154;g54dda1946d_6_322:notes">
            <a:extLst>
              <a:ext uri="{FF2B5EF4-FFF2-40B4-BE49-F238E27FC236}">
                <a16:creationId xmlns:a16="http://schemas.microsoft.com/office/drawing/2014/main" id="{DA2E780F-1886-EA40-A481-B9EDE0614A3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54dda1946d_6_322:notes">
            <a:extLst>
              <a:ext uri="{FF2B5EF4-FFF2-40B4-BE49-F238E27FC236}">
                <a16:creationId xmlns:a16="http://schemas.microsoft.com/office/drawing/2014/main" id="{9BAFCD49-32DA-A266-3854-2DFB067E0A3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736282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a:extLst>
            <a:ext uri="{FF2B5EF4-FFF2-40B4-BE49-F238E27FC236}">
              <a16:creationId xmlns:a16="http://schemas.microsoft.com/office/drawing/2014/main" id="{E5CC1A04-2163-ED85-B42C-D1D8B806375E}"/>
            </a:ext>
          </a:extLst>
        </p:cNvPr>
        <p:cNvGrpSpPr/>
        <p:nvPr/>
      </p:nvGrpSpPr>
      <p:grpSpPr>
        <a:xfrm>
          <a:off x="0" y="0"/>
          <a:ext cx="0" cy="0"/>
          <a:chOff x="0" y="0"/>
          <a:chExt cx="0" cy="0"/>
        </a:xfrm>
      </p:grpSpPr>
      <p:sp>
        <p:nvSpPr>
          <p:cNvPr id="154" name="Google Shape;154;g54dda1946d_6_322:notes">
            <a:extLst>
              <a:ext uri="{FF2B5EF4-FFF2-40B4-BE49-F238E27FC236}">
                <a16:creationId xmlns:a16="http://schemas.microsoft.com/office/drawing/2014/main" id="{D8F7FCC8-FDC6-CC49-8499-83043D47D86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54dda1946d_6_322:notes">
            <a:extLst>
              <a:ext uri="{FF2B5EF4-FFF2-40B4-BE49-F238E27FC236}">
                <a16:creationId xmlns:a16="http://schemas.microsoft.com/office/drawing/2014/main" id="{018DB663-A627-A5AF-23CC-C5F9C5307A2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152365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a:extLst>
            <a:ext uri="{FF2B5EF4-FFF2-40B4-BE49-F238E27FC236}">
              <a16:creationId xmlns:a16="http://schemas.microsoft.com/office/drawing/2014/main" id="{81E40F31-986C-D06A-6B9C-C52A7D34043B}"/>
            </a:ext>
          </a:extLst>
        </p:cNvPr>
        <p:cNvGrpSpPr/>
        <p:nvPr/>
      </p:nvGrpSpPr>
      <p:grpSpPr>
        <a:xfrm>
          <a:off x="0" y="0"/>
          <a:ext cx="0" cy="0"/>
          <a:chOff x="0" y="0"/>
          <a:chExt cx="0" cy="0"/>
        </a:xfrm>
      </p:grpSpPr>
      <p:sp>
        <p:nvSpPr>
          <p:cNvPr id="154" name="Google Shape;154;g54dda1946d_6_322:notes">
            <a:extLst>
              <a:ext uri="{FF2B5EF4-FFF2-40B4-BE49-F238E27FC236}">
                <a16:creationId xmlns:a16="http://schemas.microsoft.com/office/drawing/2014/main" id="{C509D8E3-2E50-2B2D-26EE-AB3B1F78D9C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54dda1946d_6_322:notes">
            <a:extLst>
              <a:ext uri="{FF2B5EF4-FFF2-40B4-BE49-F238E27FC236}">
                <a16:creationId xmlns:a16="http://schemas.microsoft.com/office/drawing/2014/main" id="{43072784-925E-B8EA-9D45-CA5633CF0A4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279972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sv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9" name="Group 18"/>
          <p:cNvGrpSpPr/>
          <p:nvPr/>
        </p:nvGrpSpPr>
        <p:grpSpPr>
          <a:xfrm>
            <a:off x="409575" y="-3572"/>
            <a:ext cx="3761184" cy="5147072"/>
            <a:chOff x="2928938" y="-4763"/>
            <a:chExt cx="5014912" cy="6862763"/>
          </a:xfrm>
        </p:grpSpPr>
        <p:sp>
          <p:nvSpPr>
            <p:cNvPr id="22" name="Freeform 6"/>
            <p:cNvSpPr/>
            <p:nvPr/>
          </p:nvSpPr>
          <p:spPr bwMode="auto">
            <a:xfrm>
              <a:off x="3367088" y="-4763"/>
              <a:ext cx="1063625" cy="2782888"/>
            </a:xfrm>
            <a:custGeom>
              <a:avLst/>
              <a:gdLst/>
              <a:ahLst/>
              <a:cxnLst/>
              <a:rect l="0" t="0" r="r" b="b"/>
              <a:pathLst>
                <a:path w="670" h="1753">
                  <a:moveTo>
                    <a:pt x="0" y="1696"/>
                  </a:moveTo>
                  <a:lnTo>
                    <a:pt x="225" y="1753"/>
                  </a:lnTo>
                  <a:lnTo>
                    <a:pt x="670" y="0"/>
                  </a:lnTo>
                  <a:lnTo>
                    <a:pt x="430" y="0"/>
                  </a:lnTo>
                  <a:lnTo>
                    <a:pt x="0" y="1696"/>
                  </a:lnTo>
                  <a:close/>
                </a:path>
              </a:pathLst>
            </a:custGeom>
            <a:solidFill>
              <a:schemeClr val="accent1"/>
            </a:solidFill>
            <a:ln>
              <a:noFill/>
            </a:ln>
          </p:spPr>
          <p:txBody>
            <a:bodyPr/>
            <a:lstStyle/>
            <a:p>
              <a:endParaRPr lang="en-AE"/>
            </a:p>
          </p:txBody>
        </p:sp>
        <p:sp>
          <p:nvSpPr>
            <p:cNvPr id="23" name="Freeform 7"/>
            <p:cNvSpPr/>
            <p:nvPr/>
          </p:nvSpPr>
          <p:spPr bwMode="auto">
            <a:xfrm>
              <a:off x="2928938" y="-4763"/>
              <a:ext cx="1035050" cy="2673350"/>
            </a:xfrm>
            <a:custGeom>
              <a:avLst/>
              <a:gdLst/>
              <a:ahLst/>
              <a:cxnLst/>
              <a:rect l="0" t="0" r="r" b="b"/>
              <a:pathLst>
                <a:path w="652" h="1684">
                  <a:moveTo>
                    <a:pt x="225" y="1684"/>
                  </a:moveTo>
                  <a:lnTo>
                    <a:pt x="652" y="0"/>
                  </a:lnTo>
                  <a:lnTo>
                    <a:pt x="411" y="0"/>
                  </a:lnTo>
                  <a:lnTo>
                    <a:pt x="0" y="1627"/>
                  </a:lnTo>
                  <a:lnTo>
                    <a:pt x="219" y="1681"/>
                  </a:lnTo>
                  <a:lnTo>
                    <a:pt x="225" y="1684"/>
                  </a:lnTo>
                  <a:close/>
                </a:path>
              </a:pathLst>
            </a:custGeom>
            <a:solidFill>
              <a:schemeClr val="tx1">
                <a:lumMod val="65000"/>
                <a:lumOff val="35000"/>
              </a:schemeClr>
            </a:solidFill>
            <a:ln>
              <a:noFill/>
            </a:ln>
          </p:spPr>
          <p:txBody>
            <a:bodyPr/>
            <a:lstStyle/>
            <a:p>
              <a:endParaRPr lang="en-AE"/>
            </a:p>
          </p:txBody>
        </p:sp>
        <p:sp>
          <p:nvSpPr>
            <p:cNvPr id="24" name="Freeform 9"/>
            <p:cNvSpPr/>
            <p:nvPr/>
          </p:nvSpPr>
          <p:spPr bwMode="auto">
            <a:xfrm>
              <a:off x="2928938" y="2582862"/>
              <a:ext cx="2693987" cy="4275138"/>
            </a:xfrm>
            <a:custGeom>
              <a:avLst/>
              <a:gdLst/>
              <a:ahLst/>
              <a:cxnLst/>
              <a:rect l="0" t="0" r="r" b="b"/>
              <a:pathLst>
                <a:path w="1697" h="2693">
                  <a:moveTo>
                    <a:pt x="0" y="0"/>
                  </a:moveTo>
                  <a:lnTo>
                    <a:pt x="1622" y="2693"/>
                  </a:lnTo>
                  <a:lnTo>
                    <a:pt x="1697" y="2693"/>
                  </a:lnTo>
                  <a:lnTo>
                    <a:pt x="0" y="0"/>
                  </a:lnTo>
                  <a:close/>
                </a:path>
              </a:pathLst>
            </a:custGeom>
            <a:solidFill>
              <a:schemeClr val="tx1">
                <a:lumMod val="85000"/>
                <a:lumOff val="15000"/>
              </a:schemeClr>
            </a:solidFill>
            <a:ln>
              <a:noFill/>
            </a:ln>
          </p:spPr>
          <p:txBody>
            <a:bodyPr/>
            <a:lstStyle/>
            <a:p>
              <a:endParaRPr lang="en-AE"/>
            </a:p>
          </p:txBody>
        </p:sp>
        <p:sp>
          <p:nvSpPr>
            <p:cNvPr id="25" name="Freeform 10"/>
            <p:cNvSpPr/>
            <p:nvPr/>
          </p:nvSpPr>
          <p:spPr bwMode="auto">
            <a:xfrm>
              <a:off x="3371850" y="2692400"/>
              <a:ext cx="3332162" cy="4165600"/>
            </a:xfrm>
            <a:custGeom>
              <a:avLst/>
              <a:gdLst/>
              <a:ahLst/>
              <a:cxnLst/>
              <a:rect l="0" t="0" r="r" b="b"/>
              <a:pathLst>
                <a:path w="2099" h="2624">
                  <a:moveTo>
                    <a:pt x="2099" y="2624"/>
                  </a:moveTo>
                  <a:lnTo>
                    <a:pt x="0" y="0"/>
                  </a:lnTo>
                  <a:lnTo>
                    <a:pt x="2021" y="2624"/>
                  </a:lnTo>
                  <a:lnTo>
                    <a:pt x="2099" y="2624"/>
                  </a:lnTo>
                  <a:close/>
                </a:path>
              </a:pathLst>
            </a:custGeom>
            <a:solidFill>
              <a:schemeClr val="accent1">
                <a:lumMod val="50000"/>
              </a:schemeClr>
            </a:solidFill>
            <a:ln>
              <a:noFill/>
            </a:ln>
          </p:spPr>
          <p:txBody>
            <a:bodyPr/>
            <a:lstStyle/>
            <a:p>
              <a:endParaRPr lang="en-AE"/>
            </a:p>
          </p:txBody>
        </p:sp>
        <p:sp>
          <p:nvSpPr>
            <p:cNvPr id="26" name="Freeform 11"/>
            <p:cNvSpPr/>
            <p:nvPr/>
          </p:nvSpPr>
          <p:spPr bwMode="auto">
            <a:xfrm>
              <a:off x="3367088" y="2687637"/>
              <a:ext cx="4576762" cy="4170363"/>
            </a:xfrm>
            <a:custGeom>
              <a:avLst/>
              <a:gdLst/>
              <a:ahLst/>
              <a:cxnLst/>
              <a:rect l="0" t="0" r="r" b="b"/>
              <a:pathLst>
                <a:path w="2883" h="2627">
                  <a:moveTo>
                    <a:pt x="0" y="0"/>
                  </a:moveTo>
                  <a:lnTo>
                    <a:pt x="3" y="3"/>
                  </a:lnTo>
                  <a:lnTo>
                    <a:pt x="2102" y="2627"/>
                  </a:lnTo>
                  <a:lnTo>
                    <a:pt x="2883" y="2627"/>
                  </a:lnTo>
                  <a:lnTo>
                    <a:pt x="225" y="57"/>
                  </a:lnTo>
                  <a:lnTo>
                    <a:pt x="0" y="0"/>
                  </a:lnTo>
                  <a:close/>
                </a:path>
              </a:pathLst>
            </a:custGeom>
            <a:solidFill>
              <a:schemeClr val="accent1">
                <a:lumMod val="75000"/>
              </a:schemeClr>
            </a:solidFill>
            <a:ln>
              <a:noFill/>
            </a:ln>
          </p:spPr>
          <p:txBody>
            <a:bodyPr/>
            <a:lstStyle/>
            <a:p>
              <a:endParaRPr lang="en-AE"/>
            </a:p>
          </p:txBody>
        </p:sp>
        <p:sp>
          <p:nvSpPr>
            <p:cNvPr id="27" name="Freeform 12"/>
            <p:cNvSpPr/>
            <p:nvPr/>
          </p:nvSpPr>
          <p:spPr bwMode="auto">
            <a:xfrm>
              <a:off x="2928938" y="2578100"/>
              <a:ext cx="3584575" cy="4279900"/>
            </a:xfrm>
            <a:custGeom>
              <a:avLst/>
              <a:gdLst/>
              <a:ahLst/>
              <a:cxnLst/>
              <a:rect l="0" t="0" r="r" b="b"/>
              <a:pathLst>
                <a:path w="2258" h="2696">
                  <a:moveTo>
                    <a:pt x="2258" y="2696"/>
                  </a:moveTo>
                  <a:lnTo>
                    <a:pt x="264" y="111"/>
                  </a:lnTo>
                  <a:lnTo>
                    <a:pt x="228" y="60"/>
                  </a:lnTo>
                  <a:lnTo>
                    <a:pt x="225" y="57"/>
                  </a:lnTo>
                  <a:lnTo>
                    <a:pt x="0" y="0"/>
                  </a:lnTo>
                  <a:lnTo>
                    <a:pt x="0" y="3"/>
                  </a:lnTo>
                  <a:lnTo>
                    <a:pt x="1697" y="2696"/>
                  </a:lnTo>
                  <a:lnTo>
                    <a:pt x="2258" y="2696"/>
                  </a:lnTo>
                  <a:close/>
                </a:path>
              </a:pathLst>
            </a:custGeom>
            <a:solidFill>
              <a:schemeClr val="tx1">
                <a:lumMod val="75000"/>
                <a:lumOff val="25000"/>
              </a:schemeClr>
            </a:solidFill>
            <a:ln>
              <a:noFill/>
            </a:ln>
          </p:spPr>
          <p:txBody>
            <a:bodyPr/>
            <a:lstStyle/>
            <a:p>
              <a:endParaRPr lang="en-AE"/>
            </a:p>
          </p:txBody>
        </p:sp>
      </p:grpSp>
      <p:sp>
        <p:nvSpPr>
          <p:cNvPr id="2" name="Title 1"/>
          <p:cNvSpPr>
            <a:spLocks noGrp="1"/>
          </p:cNvSpPr>
          <p:nvPr>
            <p:ph type="ctrTitle"/>
          </p:nvPr>
        </p:nvSpPr>
        <p:spPr>
          <a:xfrm>
            <a:off x="2196301" y="1035052"/>
            <a:ext cx="6430967" cy="1962149"/>
          </a:xfrm>
        </p:spPr>
        <p:txBody>
          <a:bodyPr anchor="b">
            <a:normAutofit/>
          </a:bodyPr>
          <a:lstStyle>
            <a:lvl1pPr algn="r">
              <a:defRPr sz="4500">
                <a:effectLst/>
              </a:defRPr>
            </a:lvl1pPr>
          </a:lstStyle>
          <a:p>
            <a:r>
              <a:rPr lang="en-US"/>
              <a:t>Click to edit Master title style</a:t>
            </a:r>
            <a:endParaRPr lang="en-US" dirty="0"/>
          </a:p>
        </p:txBody>
      </p:sp>
      <p:sp>
        <p:nvSpPr>
          <p:cNvPr id="3" name="Subtitle 2"/>
          <p:cNvSpPr>
            <a:spLocks noGrp="1"/>
          </p:cNvSpPr>
          <p:nvPr>
            <p:ph type="subTitle" idx="1"/>
          </p:nvPr>
        </p:nvSpPr>
        <p:spPr>
          <a:xfrm>
            <a:off x="3386533" y="2997200"/>
            <a:ext cx="5240734" cy="1041401"/>
          </a:xfrm>
        </p:spPr>
        <p:txBody>
          <a:bodyPr anchor="t">
            <a:normAutofit/>
          </a:bodyPr>
          <a:lstStyle>
            <a:lvl1pPr marL="0" indent="0" algn="r">
              <a:buNone/>
              <a:defRPr sz="1575">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2/21/2026</a:t>
            </a:fld>
            <a:endParaRPr lang="en-US" dirty="0"/>
          </a:p>
        </p:txBody>
      </p:sp>
      <p:sp>
        <p:nvSpPr>
          <p:cNvPr id="5" name="Footer Placeholder 4"/>
          <p:cNvSpPr>
            <a:spLocks noGrp="1"/>
          </p:cNvSpPr>
          <p:nvPr>
            <p:ph type="ftr" sz="quarter" idx="11"/>
          </p:nvPr>
        </p:nvSpPr>
        <p:spPr>
          <a:xfrm>
            <a:off x="3999309" y="4412457"/>
            <a:ext cx="3243033" cy="273844"/>
          </a:xfrm>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7419359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13234" y="3549649"/>
            <a:ext cx="7514033" cy="425054"/>
          </a:xfrm>
        </p:spPr>
        <p:txBody>
          <a:bodyPr anchor="b">
            <a:normAutofit/>
          </a:bodyPr>
          <a:lstStyle>
            <a:lvl1pPr algn="ctr">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789509" y="699084"/>
            <a:ext cx="6169458" cy="2373732"/>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1113234" y="3974702"/>
            <a:ext cx="7514033" cy="370284"/>
          </a:xfrm>
        </p:spPr>
        <p:txBody>
          <a:bodyPr>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6EB948B8-A791-4812-B4E5-E27E46CC9D30}" type="datetimeFigureOut">
              <a:rPr lang="en-AE" smtClean="0"/>
              <a:t>21/02/2026</a:t>
            </a:fld>
            <a:endParaRPr lang="en-AE"/>
          </a:p>
        </p:txBody>
      </p:sp>
      <p:sp>
        <p:nvSpPr>
          <p:cNvPr id="6" name="Footer Placeholder 5"/>
          <p:cNvSpPr>
            <a:spLocks noGrp="1"/>
          </p:cNvSpPr>
          <p:nvPr>
            <p:ph type="ftr" sz="quarter" idx="11"/>
          </p:nvPr>
        </p:nvSpPr>
        <p:spPr/>
        <p:txBody>
          <a:bodyPr/>
          <a:lstStyle/>
          <a:p>
            <a:endParaRPr lang="en-AE"/>
          </a:p>
        </p:txBody>
      </p:sp>
      <p:sp>
        <p:nvSpPr>
          <p:cNvPr id="7" name="Slide Number Placeholder 6"/>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187657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13235" y="514350"/>
            <a:ext cx="7514033" cy="2286000"/>
          </a:xfrm>
        </p:spPr>
        <p:txBody>
          <a:bodyPr anchor="ctr">
            <a:normAutofit/>
          </a:bodyPr>
          <a:lstStyle>
            <a:lvl1pPr algn="ctr">
              <a:defRPr sz="2400" b="0" cap="none"/>
            </a:lvl1pPr>
          </a:lstStyle>
          <a:p>
            <a:r>
              <a:rPr lang="en-US"/>
              <a:t>Click to edit Master title style</a:t>
            </a:r>
            <a:endParaRPr lang="en-US" dirty="0"/>
          </a:p>
        </p:txBody>
      </p:sp>
      <p:sp>
        <p:nvSpPr>
          <p:cNvPr id="3" name="Text Placeholder 2"/>
          <p:cNvSpPr>
            <a:spLocks noGrp="1"/>
          </p:cNvSpPr>
          <p:nvPr>
            <p:ph type="body" idx="1"/>
          </p:nvPr>
        </p:nvSpPr>
        <p:spPr>
          <a:xfrm>
            <a:off x="1113234" y="3257550"/>
            <a:ext cx="7514035" cy="1085850"/>
          </a:xfrm>
        </p:spPr>
        <p:txBody>
          <a:bodyPr anchor="ctr">
            <a:normAutofit/>
          </a:bodyPr>
          <a:lstStyle>
            <a:lvl1pPr marL="0" indent="0" algn="ctr">
              <a:buNone/>
              <a:defRPr sz="150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55245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14" name="TextBox 13"/>
          <p:cNvSpPr txBox="1"/>
          <p:nvPr/>
        </p:nvSpPr>
        <p:spPr>
          <a:xfrm>
            <a:off x="1198959" y="647267"/>
            <a:ext cx="457200" cy="438582"/>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000" dirty="0">
                <a:solidFill>
                  <a:schemeClr val="tx1"/>
                </a:solidFill>
                <a:effectLst/>
              </a:rPr>
              <a:t>“</a:t>
            </a:r>
          </a:p>
        </p:txBody>
      </p:sp>
      <p:sp>
        <p:nvSpPr>
          <p:cNvPr id="15" name="TextBox 14"/>
          <p:cNvSpPr txBox="1"/>
          <p:nvPr/>
        </p:nvSpPr>
        <p:spPr>
          <a:xfrm>
            <a:off x="8170069" y="2114549"/>
            <a:ext cx="457200" cy="438582"/>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000" dirty="0">
                <a:solidFill>
                  <a:schemeClr val="tx1"/>
                </a:solidFill>
                <a:effectLst/>
              </a:rPr>
              <a:t>”</a:t>
            </a:r>
          </a:p>
        </p:txBody>
      </p:sp>
      <p:sp>
        <p:nvSpPr>
          <p:cNvPr id="2" name="Title 1"/>
          <p:cNvSpPr>
            <a:spLocks noGrp="1"/>
          </p:cNvSpPr>
          <p:nvPr>
            <p:ph type="title"/>
          </p:nvPr>
        </p:nvSpPr>
        <p:spPr>
          <a:xfrm>
            <a:off x="1656159" y="514351"/>
            <a:ext cx="6742509" cy="2057399"/>
          </a:xfrm>
        </p:spPr>
        <p:txBody>
          <a:bodyPr anchor="ctr">
            <a:normAutofit/>
          </a:bodyPr>
          <a:lstStyle>
            <a:lvl1pPr algn="ctr">
              <a:defRPr sz="24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827609" y="2571749"/>
            <a:ext cx="6399611" cy="285750"/>
          </a:xfrm>
        </p:spPr>
        <p:txBody>
          <a:bodyPr anchor="ctr">
            <a:normAutofit/>
          </a:bodyPr>
          <a:lstStyle>
            <a:lvl1pPr marL="0" indent="0">
              <a:buFontTx/>
              <a:buNone/>
              <a:defRPr sz="1350"/>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Master text styles</a:t>
            </a:r>
          </a:p>
        </p:txBody>
      </p:sp>
      <p:sp>
        <p:nvSpPr>
          <p:cNvPr id="3" name="Text Placeholder 2"/>
          <p:cNvSpPr>
            <a:spLocks noGrp="1"/>
          </p:cNvSpPr>
          <p:nvPr>
            <p:ph type="body" idx="1"/>
          </p:nvPr>
        </p:nvSpPr>
        <p:spPr>
          <a:xfrm>
            <a:off x="1113234" y="3257550"/>
            <a:ext cx="7514033" cy="1085850"/>
          </a:xfrm>
        </p:spPr>
        <p:txBody>
          <a:bodyPr anchor="ctr">
            <a:normAutofit/>
          </a:bodyPr>
          <a:lstStyle>
            <a:lvl1pPr marL="0" indent="0" algn="ctr">
              <a:buNone/>
              <a:defRPr sz="150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5889612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13235" y="2481436"/>
            <a:ext cx="7514032" cy="1101600"/>
          </a:xfrm>
        </p:spPr>
        <p:txBody>
          <a:bodyPr anchor="b">
            <a:normAutofit/>
          </a:bodyPr>
          <a:lstStyle>
            <a:lvl1pPr algn="r">
              <a:defRPr sz="2400" b="0" cap="none"/>
            </a:lvl1pPr>
          </a:lstStyle>
          <a:p>
            <a:r>
              <a:rPr lang="en-US"/>
              <a:t>Click to edit Master title style</a:t>
            </a:r>
            <a:endParaRPr lang="en-US" dirty="0"/>
          </a:p>
        </p:txBody>
      </p:sp>
      <p:sp>
        <p:nvSpPr>
          <p:cNvPr id="3" name="Text Placeholder 2"/>
          <p:cNvSpPr>
            <a:spLocks noGrp="1"/>
          </p:cNvSpPr>
          <p:nvPr>
            <p:ph type="body" idx="1"/>
          </p:nvPr>
        </p:nvSpPr>
        <p:spPr>
          <a:xfrm>
            <a:off x="1113234" y="3583036"/>
            <a:ext cx="7514033" cy="645300"/>
          </a:xfrm>
        </p:spPr>
        <p:txBody>
          <a:bodyPr anchor="t">
            <a:normAutofit/>
          </a:bodyPr>
          <a:lstStyle>
            <a:lvl1pPr marL="0" indent="0" algn="r">
              <a:buNone/>
              <a:defRPr sz="150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7515037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4" name="TextBox 13"/>
          <p:cNvSpPr txBox="1"/>
          <p:nvPr/>
        </p:nvSpPr>
        <p:spPr>
          <a:xfrm>
            <a:off x="1198959" y="647267"/>
            <a:ext cx="457200" cy="438582"/>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000" dirty="0">
                <a:solidFill>
                  <a:schemeClr val="tx1"/>
                </a:solidFill>
                <a:effectLst/>
              </a:rPr>
              <a:t>“</a:t>
            </a:r>
          </a:p>
        </p:txBody>
      </p:sp>
      <p:sp>
        <p:nvSpPr>
          <p:cNvPr id="15" name="TextBox 14"/>
          <p:cNvSpPr txBox="1"/>
          <p:nvPr/>
        </p:nvSpPr>
        <p:spPr>
          <a:xfrm>
            <a:off x="8170069" y="2114549"/>
            <a:ext cx="457200" cy="438582"/>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000" dirty="0">
                <a:solidFill>
                  <a:schemeClr val="tx1"/>
                </a:solidFill>
                <a:effectLst/>
              </a:rPr>
              <a:t>”</a:t>
            </a:r>
          </a:p>
        </p:txBody>
      </p:sp>
      <p:sp>
        <p:nvSpPr>
          <p:cNvPr id="2" name="Title 1"/>
          <p:cNvSpPr>
            <a:spLocks noGrp="1"/>
          </p:cNvSpPr>
          <p:nvPr>
            <p:ph type="title"/>
          </p:nvPr>
        </p:nvSpPr>
        <p:spPr>
          <a:xfrm>
            <a:off x="1656159" y="514351"/>
            <a:ext cx="6742509" cy="2057399"/>
          </a:xfrm>
        </p:spPr>
        <p:txBody>
          <a:bodyPr anchor="ctr">
            <a:normAutofit/>
          </a:bodyPr>
          <a:lstStyle>
            <a:lvl1pPr algn="ctr">
              <a:defRPr sz="24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3235" y="2914650"/>
            <a:ext cx="7514033" cy="666750"/>
          </a:xfrm>
        </p:spPr>
        <p:txBody>
          <a:bodyPr vert="horz" lIns="91440" tIns="45720" rIns="91440" bIns="45720" rtlCol="0" anchor="b">
            <a:normAutofit/>
          </a:bodyPr>
          <a:lstStyle>
            <a:lvl1pPr algn="r">
              <a:buNone/>
              <a:defRPr lang="en-US" sz="18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1113234" y="3581400"/>
            <a:ext cx="7514033" cy="762000"/>
          </a:xfrm>
        </p:spPr>
        <p:txBody>
          <a:bodyPr anchor="t">
            <a:normAutofit/>
          </a:bodyPr>
          <a:lstStyle>
            <a:lvl1pPr marL="0" indent="0" algn="r">
              <a:buNone/>
              <a:defRPr sz="135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623550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113235" y="514350"/>
            <a:ext cx="7514034" cy="2045494"/>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1113234" y="2628900"/>
            <a:ext cx="7514035" cy="628650"/>
          </a:xfrm>
        </p:spPr>
        <p:txBody>
          <a:bodyPr vert="horz" lIns="91440" tIns="45720" rIns="91440" bIns="45720" rtlCol="0" anchor="b">
            <a:normAutofit/>
          </a:bodyPr>
          <a:lstStyle>
            <a:lvl1pPr>
              <a:buNone/>
              <a:defRPr lang="en-US" sz="21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1113234" y="3257550"/>
            <a:ext cx="7514035" cy="1085850"/>
          </a:xfrm>
        </p:spPr>
        <p:txBody>
          <a:bodyPr anchor="t">
            <a:normAutofit/>
          </a:bodyPr>
          <a:lstStyle>
            <a:lvl1pPr marL="0" indent="0" algn="l">
              <a:buNone/>
              <a:defRPr sz="135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453820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1301877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9492" y="514350"/>
            <a:ext cx="1327777" cy="38290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13234" y="514350"/>
            <a:ext cx="6014807" cy="382905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31180891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61"/>
        <p:cNvGrpSpPr/>
        <p:nvPr/>
      </p:nvGrpSpPr>
      <p:grpSpPr>
        <a:xfrm>
          <a:off x="0" y="0"/>
          <a:ext cx="0" cy="0"/>
          <a:chOff x="0" y="0"/>
          <a:chExt cx="0" cy="0"/>
        </a:xfrm>
      </p:grpSpPr>
      <p:sp>
        <p:nvSpPr>
          <p:cNvPr id="63" name="Google Shape;63;p14"/>
          <p:cNvSpPr txBox="1">
            <a:spLocks noGrp="1"/>
          </p:cNvSpPr>
          <p:nvPr>
            <p:ph type="subTitle" idx="1"/>
          </p:nvPr>
        </p:nvSpPr>
        <p:spPr>
          <a:xfrm>
            <a:off x="4928800" y="1475100"/>
            <a:ext cx="3501900" cy="2193300"/>
          </a:xfrm>
          <a:prstGeom prst="rect">
            <a:avLst/>
          </a:prstGeom>
        </p:spPr>
        <p:txBody>
          <a:bodyPr spcFirstLastPara="1" wrap="square" lIns="91425" tIns="91425" rIns="91425" bIns="91425" anchor="t" anchorCtr="0">
            <a:noAutofit/>
          </a:bodyPr>
          <a:lstStyle>
            <a:lvl1pPr lvl="0">
              <a:spcBef>
                <a:spcPts val="0"/>
              </a:spcBef>
              <a:spcAft>
                <a:spcPts val="0"/>
              </a:spcAft>
              <a:buSzPts val="1200"/>
              <a:buNone/>
              <a:defRPr/>
            </a:lvl1pPr>
            <a:lvl2pPr lvl="1">
              <a:spcBef>
                <a:spcPts val="0"/>
              </a:spcBef>
              <a:spcAft>
                <a:spcPts val="0"/>
              </a:spcAft>
              <a:buSzPts val="1200"/>
              <a:buNone/>
              <a:defRPr/>
            </a:lvl2pPr>
            <a:lvl3pPr lvl="2">
              <a:spcBef>
                <a:spcPts val="0"/>
              </a:spcBef>
              <a:spcAft>
                <a:spcPts val="0"/>
              </a:spcAft>
              <a:buSzPts val="1200"/>
              <a:buNone/>
              <a:defRPr/>
            </a:lvl3pPr>
            <a:lvl4pPr lvl="3">
              <a:spcBef>
                <a:spcPts val="0"/>
              </a:spcBef>
              <a:spcAft>
                <a:spcPts val="0"/>
              </a:spcAft>
              <a:buSzPts val="1200"/>
              <a:buNone/>
              <a:defRPr/>
            </a:lvl4pPr>
            <a:lvl5pPr lvl="4">
              <a:spcBef>
                <a:spcPts val="0"/>
              </a:spcBef>
              <a:spcAft>
                <a:spcPts val="0"/>
              </a:spcAft>
              <a:buSzPts val="1200"/>
              <a:buNone/>
              <a:defRPr/>
            </a:lvl5pPr>
            <a:lvl6pPr lvl="5">
              <a:spcBef>
                <a:spcPts val="0"/>
              </a:spcBef>
              <a:spcAft>
                <a:spcPts val="0"/>
              </a:spcAft>
              <a:buSzPts val="1200"/>
              <a:buNone/>
              <a:defRPr/>
            </a:lvl6pPr>
            <a:lvl7pPr lvl="6">
              <a:spcBef>
                <a:spcPts val="0"/>
              </a:spcBef>
              <a:spcAft>
                <a:spcPts val="0"/>
              </a:spcAft>
              <a:buSzPts val="1200"/>
              <a:buNone/>
              <a:defRPr/>
            </a:lvl7pPr>
            <a:lvl8pPr lvl="7">
              <a:spcBef>
                <a:spcPts val="0"/>
              </a:spcBef>
              <a:spcAft>
                <a:spcPts val="0"/>
              </a:spcAft>
              <a:buSzPts val="1200"/>
              <a:buNone/>
              <a:defRPr/>
            </a:lvl8pPr>
            <a:lvl9pPr lvl="8">
              <a:spcBef>
                <a:spcPts val="0"/>
              </a:spcBef>
              <a:spcAft>
                <a:spcPts val="0"/>
              </a:spcAft>
              <a:buSzPts val="1200"/>
              <a:buNone/>
              <a:defRPr/>
            </a:lvl9pPr>
          </a:lstStyle>
          <a:p>
            <a:endParaRPr/>
          </a:p>
        </p:txBody>
      </p:sp>
      <p:sp>
        <p:nvSpPr>
          <p:cNvPr id="64" name="Google Shape;64;p14"/>
          <p:cNvSpPr txBox="1">
            <a:spLocks noGrp="1"/>
          </p:cNvSpPr>
          <p:nvPr>
            <p:ph type="title"/>
          </p:nvPr>
        </p:nvSpPr>
        <p:spPr>
          <a:xfrm>
            <a:off x="811975" y="539500"/>
            <a:ext cx="7618800" cy="572700"/>
          </a:xfrm>
          <a:prstGeom prst="rect">
            <a:avLst/>
          </a:prstGeom>
        </p:spPr>
        <p:txBody>
          <a:bodyPr spcFirstLastPara="1" wrap="square" lIns="91425" tIns="91425" rIns="91425" bIns="91425" anchor="b" anchorCtr="0">
            <a:noAutofit/>
          </a:bodyPr>
          <a:lstStyle>
            <a:lvl1pPr lvl="0">
              <a:spcBef>
                <a:spcPts val="0"/>
              </a:spcBef>
              <a:spcAft>
                <a:spcPts val="0"/>
              </a:spcAft>
              <a:buSzPts val="2600"/>
              <a:buNone/>
              <a:defRPr b="0">
                <a:latin typeface="Syne SemiBold"/>
                <a:ea typeface="Syne SemiBold"/>
                <a:cs typeface="Syne SemiBold"/>
                <a:sym typeface="Syne SemiBold"/>
              </a:defRPr>
            </a:lvl1pPr>
            <a:lvl2pPr lvl="1">
              <a:spcBef>
                <a:spcPts val="0"/>
              </a:spcBef>
              <a:spcAft>
                <a:spcPts val="0"/>
              </a:spcAft>
              <a:buSzPts val="2600"/>
              <a:buNone/>
              <a:defRPr/>
            </a:lvl2pPr>
            <a:lvl3pPr lvl="2">
              <a:spcBef>
                <a:spcPts val="0"/>
              </a:spcBef>
              <a:spcAft>
                <a:spcPts val="0"/>
              </a:spcAft>
              <a:buSzPts val="2600"/>
              <a:buNone/>
              <a:defRPr/>
            </a:lvl3pPr>
            <a:lvl4pPr lvl="3">
              <a:spcBef>
                <a:spcPts val="0"/>
              </a:spcBef>
              <a:spcAft>
                <a:spcPts val="0"/>
              </a:spcAft>
              <a:buSzPts val="2600"/>
              <a:buNone/>
              <a:defRPr/>
            </a:lvl4pPr>
            <a:lvl5pPr lvl="4">
              <a:spcBef>
                <a:spcPts val="0"/>
              </a:spcBef>
              <a:spcAft>
                <a:spcPts val="0"/>
              </a:spcAft>
              <a:buSzPts val="2600"/>
              <a:buNone/>
              <a:defRPr/>
            </a:lvl5pPr>
            <a:lvl6pPr lvl="5">
              <a:spcBef>
                <a:spcPts val="0"/>
              </a:spcBef>
              <a:spcAft>
                <a:spcPts val="0"/>
              </a:spcAft>
              <a:buSzPts val="2600"/>
              <a:buNone/>
              <a:defRPr/>
            </a:lvl6pPr>
            <a:lvl7pPr lvl="6">
              <a:spcBef>
                <a:spcPts val="0"/>
              </a:spcBef>
              <a:spcAft>
                <a:spcPts val="0"/>
              </a:spcAft>
              <a:buSzPts val="2600"/>
              <a:buNone/>
              <a:defRPr/>
            </a:lvl7pPr>
            <a:lvl8pPr lvl="7">
              <a:spcBef>
                <a:spcPts val="0"/>
              </a:spcBef>
              <a:spcAft>
                <a:spcPts val="0"/>
              </a:spcAft>
              <a:buSzPts val="2600"/>
              <a:buNone/>
              <a:defRPr/>
            </a:lvl8pPr>
            <a:lvl9pPr lvl="8">
              <a:spcBef>
                <a:spcPts val="0"/>
              </a:spcBef>
              <a:spcAft>
                <a:spcPts val="0"/>
              </a:spcAft>
              <a:buSzPts val="2600"/>
              <a:buNone/>
              <a:defRPr/>
            </a:lvl9pPr>
          </a:lstStyle>
          <a:p>
            <a:endParaRPr/>
          </a:p>
        </p:txBody>
      </p:sp>
      <p:sp>
        <p:nvSpPr>
          <p:cNvPr id="65" name="Google Shape;65;p14"/>
          <p:cNvSpPr>
            <a:spLocks noGrp="1"/>
          </p:cNvSpPr>
          <p:nvPr>
            <p:ph type="pic" idx="2"/>
          </p:nvPr>
        </p:nvSpPr>
        <p:spPr>
          <a:xfrm>
            <a:off x="1" y="1476775"/>
            <a:ext cx="4294800" cy="3666600"/>
          </a:xfrm>
          <a:prstGeom prst="rect">
            <a:avLst/>
          </a:prstGeom>
          <a:noFill/>
          <a:ln>
            <a:noFill/>
          </a:ln>
        </p:spPr>
        <p:txBody>
          <a:bodyPr/>
          <a:lstStyle/>
          <a:p>
            <a:endParaRPr lang="en-AE"/>
          </a:p>
        </p:txBody>
      </p:sp>
      <p:cxnSp>
        <p:nvCxnSpPr>
          <p:cNvPr id="2" name="Google Shape;167;p32">
            <a:extLst>
              <a:ext uri="{FF2B5EF4-FFF2-40B4-BE49-F238E27FC236}">
                <a16:creationId xmlns:a16="http://schemas.microsoft.com/office/drawing/2014/main" id="{D38C891B-CF32-175D-39E2-654972AE0BA2}"/>
              </a:ext>
            </a:extLst>
          </p:cNvPr>
          <p:cNvCxnSpPr>
            <a:cxnSpLocks/>
          </p:cNvCxnSpPr>
          <p:nvPr userDrawn="1"/>
        </p:nvCxnSpPr>
        <p:spPr>
          <a:xfrm>
            <a:off x="1430700" y="4800200"/>
            <a:ext cx="7713300" cy="45436"/>
          </a:xfrm>
          <a:prstGeom prst="straightConnector1">
            <a:avLst/>
          </a:prstGeom>
          <a:noFill/>
          <a:ln w="9525" cap="flat" cmpd="sng">
            <a:solidFill>
              <a:schemeClr val="accent1"/>
            </a:solidFill>
            <a:prstDash val="solid"/>
            <a:round/>
            <a:headEnd type="none" w="med" len="med"/>
            <a:tailEnd type="none" w="med" len="med"/>
          </a:ln>
        </p:spPr>
      </p:cxnSp>
    </p:spTree>
    <p:extLst>
      <p:ext uri="{BB962C8B-B14F-4D97-AF65-F5344CB8AC3E}">
        <p14:creationId xmlns:p14="http://schemas.microsoft.com/office/powerpoint/2010/main" val="17950456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Title and Text blu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C0D136-C85C-438F-B8DB-90BC2497C004}"/>
              </a:ext>
            </a:extLst>
          </p:cNvPr>
          <p:cNvGraphicFramePr>
            <a:graphicFrameLocks noChangeAspect="1"/>
          </p:cNvGraphicFramePr>
          <p:nvPr userDrawn="1">
            <p:custDataLst>
              <p:tags r:id="rId1"/>
            </p:custDataLst>
            <p:extLst>
              <p:ext uri="{D42A27DB-BD31-4B8C-83A1-F6EECF244321}">
                <p14:modId xmlns:p14="http://schemas.microsoft.com/office/powerpoint/2010/main" val="15742031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B1C0D136-C85C-438F-B8DB-90BC2497C00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ext Placeholder 8"/>
          <p:cNvSpPr>
            <a:spLocks noGrp="1"/>
          </p:cNvSpPr>
          <p:nvPr>
            <p:ph type="body" sz="quarter" idx="10" hasCustomPrompt="1"/>
          </p:nvPr>
        </p:nvSpPr>
        <p:spPr>
          <a:xfrm>
            <a:off x="440531" y="997595"/>
            <a:ext cx="8262938" cy="34100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 (hold SHIFT+ALT and arrow keys to change level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hasCustomPrompt="1"/>
          </p:nvPr>
        </p:nvSpPr>
        <p:spPr/>
        <p:txBody>
          <a:bodyPr vert="horz"/>
          <a:lstStyle>
            <a:lvl1pPr>
              <a:defRPr>
                <a:solidFill>
                  <a:schemeClr val="bg1"/>
                </a:solidFill>
              </a:defRPr>
            </a:lvl1pPr>
          </a:lstStyle>
          <a:p>
            <a:r>
              <a:rPr lang="en-US"/>
              <a:t>Click to edit title</a:t>
            </a:r>
            <a:endParaRPr lang="en-GB"/>
          </a:p>
        </p:txBody>
      </p:sp>
    </p:spTree>
    <p:extLst>
      <p:ext uri="{BB962C8B-B14F-4D97-AF65-F5344CB8AC3E}">
        <p14:creationId xmlns:p14="http://schemas.microsoft.com/office/powerpoint/2010/main" val="2566217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lvl1pPr>
              <a:buClr>
                <a:schemeClr val="accent1">
                  <a:lumMod val="75000"/>
                </a:schemeClr>
              </a:buCl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a:xfrm>
            <a:off x="8213893" y="4400349"/>
            <a:ext cx="413375" cy="273844"/>
          </a:xfrm>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702472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rgbClr val="00338D"/>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7D3C9D-F1D9-4D83-8405-0F801E26817D}"/>
              </a:ext>
            </a:extLst>
          </p:cNvPr>
          <p:cNvSpPr>
            <a:spLocks noChangeAspect="1"/>
          </p:cNvSpPr>
          <p:nvPr userDrawn="1"/>
        </p:nvSpPr>
        <p:spPr>
          <a:xfrm>
            <a:off x="3943350" y="923181"/>
            <a:ext cx="4578350" cy="3297139"/>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79AD7088-EDB1-43A3-BCB3-0FEDC99E3256}"/>
              </a:ext>
            </a:extLst>
          </p:cNvPr>
          <p:cNvSpPr>
            <a:spLocks noGrp="1"/>
          </p:cNvSpPr>
          <p:nvPr>
            <p:ph type="ctrTitle"/>
          </p:nvPr>
        </p:nvSpPr>
        <p:spPr>
          <a:xfrm>
            <a:off x="875463" y="1131236"/>
            <a:ext cx="2737687" cy="2160000"/>
          </a:xfrm>
        </p:spPr>
        <p:txBody>
          <a:bodyPr anchor="t" anchorCtr="0"/>
          <a:lstStyle>
            <a:lvl1pPr algn="l">
              <a:defRPr sz="4500" baseline="0">
                <a:solidFill>
                  <a:schemeClr val="bg1"/>
                </a:solidFill>
              </a:defRPr>
            </a:lvl1pPr>
          </a:lstStyle>
          <a:p>
            <a:endParaRPr lang="en-US" dirty="0"/>
          </a:p>
        </p:txBody>
      </p:sp>
      <p:sp>
        <p:nvSpPr>
          <p:cNvPr id="10" name="Text Placeholder 3">
            <a:extLst>
              <a:ext uri="{FF2B5EF4-FFF2-40B4-BE49-F238E27FC236}">
                <a16:creationId xmlns:a16="http://schemas.microsoft.com/office/drawing/2014/main" id="{6B20E3E2-C475-4230-9CC4-4FC30DB17C85}"/>
              </a:ext>
            </a:extLst>
          </p:cNvPr>
          <p:cNvSpPr>
            <a:spLocks noGrp="1"/>
          </p:cNvSpPr>
          <p:nvPr>
            <p:ph type="body" sz="quarter" idx="11" hasCustomPrompt="1"/>
          </p:nvPr>
        </p:nvSpPr>
        <p:spPr>
          <a:xfrm>
            <a:off x="875464" y="3458377"/>
            <a:ext cx="5831819"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dirty="0"/>
              <a:t>9 September 2024</a:t>
            </a:r>
          </a:p>
        </p:txBody>
      </p:sp>
    </p:spTree>
    <p:extLst>
      <p:ext uri="{BB962C8B-B14F-4D97-AF65-F5344CB8AC3E}">
        <p14:creationId xmlns:p14="http://schemas.microsoft.com/office/powerpoint/2010/main" val="3574189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CD11141-B40A-46CB-8C61-81DDE221FE5D}"/>
              </a:ext>
            </a:extLst>
          </p:cNvPr>
          <p:cNvSpPr>
            <a:spLocks noChangeAspect="1"/>
          </p:cNvSpPr>
          <p:nvPr userDrawn="1"/>
        </p:nvSpPr>
        <p:spPr>
          <a:xfrm>
            <a:off x="749301" y="947878"/>
            <a:ext cx="3291418" cy="3557447"/>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A7867E50-BF34-4013-B459-41448BAB225C}"/>
              </a:ext>
            </a:extLst>
          </p:cNvPr>
          <p:cNvSpPr>
            <a:spLocks noGrp="1"/>
          </p:cNvSpPr>
          <p:nvPr>
            <p:ph type="ctrTitle" hasCustomPrompt="1"/>
          </p:nvPr>
        </p:nvSpPr>
        <p:spPr>
          <a:xfrm>
            <a:off x="996112" y="1135698"/>
            <a:ext cx="2798013" cy="2430000"/>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280408F-9E51-4F9B-94C4-6F3A3FBD24F7}"/>
              </a:ext>
            </a:extLst>
          </p:cNvPr>
          <p:cNvSpPr>
            <a:spLocks noGrp="1"/>
          </p:cNvSpPr>
          <p:nvPr>
            <p:ph type="body" sz="quarter" idx="11"/>
          </p:nvPr>
        </p:nvSpPr>
        <p:spPr>
          <a:xfrm>
            <a:off x="996113" y="3715227"/>
            <a:ext cx="2798013"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BD9B31D1-42A2-4A0D-A8FC-1A425F027A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1" y="235079"/>
            <a:ext cx="786440" cy="237600"/>
          </a:xfrm>
          <a:prstGeom prst="rect">
            <a:avLst/>
          </a:prstGeom>
        </p:spPr>
      </p:pic>
    </p:spTree>
    <p:extLst>
      <p:ext uri="{BB962C8B-B14F-4D97-AF65-F5344CB8AC3E}">
        <p14:creationId xmlns:p14="http://schemas.microsoft.com/office/powerpoint/2010/main" val="9832035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CBDB287-5E22-4504-9244-3821B98C05A3}"/>
              </a:ext>
            </a:extLst>
          </p:cNvPr>
          <p:cNvSpPr>
            <a:spLocks noChangeAspect="1"/>
          </p:cNvSpPr>
          <p:nvPr userDrawn="1"/>
        </p:nvSpPr>
        <p:spPr>
          <a:xfrm>
            <a:off x="2157187" y="235079"/>
            <a:ext cx="6242276" cy="3249603"/>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21A1CDC1-2E26-4722-BB78-D965EB673000}"/>
              </a:ext>
            </a:extLst>
          </p:cNvPr>
          <p:cNvSpPr>
            <a:spLocks noGrp="1"/>
          </p:cNvSpPr>
          <p:nvPr>
            <p:ph type="ctrTitle" hasCustomPrompt="1"/>
          </p:nvPr>
        </p:nvSpPr>
        <p:spPr>
          <a:xfrm>
            <a:off x="2401619" y="420086"/>
            <a:ext cx="5756451" cy="2160000"/>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53C698CC-97B7-45DE-AA75-CA3F0C4CF34A}"/>
              </a:ext>
            </a:extLst>
          </p:cNvPr>
          <p:cNvSpPr>
            <a:spLocks noGrp="1"/>
          </p:cNvSpPr>
          <p:nvPr>
            <p:ph type="body" sz="quarter" idx="11"/>
          </p:nvPr>
        </p:nvSpPr>
        <p:spPr>
          <a:xfrm>
            <a:off x="2401619" y="2687117"/>
            <a:ext cx="5756451"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pic>
        <p:nvPicPr>
          <p:cNvPr id="6" name="Graphic 5">
            <a:extLst>
              <a:ext uri="{FF2B5EF4-FFF2-40B4-BE49-F238E27FC236}">
                <a16:creationId xmlns:a16="http://schemas.microsoft.com/office/drawing/2014/main" id="{12B72E16-3CB3-49AC-9B2E-56ECC2BE96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1" y="235079"/>
            <a:ext cx="786440" cy="237600"/>
          </a:xfrm>
          <a:prstGeom prst="rect">
            <a:avLst/>
          </a:prstGeom>
        </p:spPr>
      </p:pic>
    </p:spTree>
    <p:extLst>
      <p:ext uri="{BB962C8B-B14F-4D97-AF65-F5344CB8AC3E}">
        <p14:creationId xmlns:p14="http://schemas.microsoft.com/office/powerpoint/2010/main" val="2902732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3C44D8B-17CD-4454-B36D-72741332159F}"/>
              </a:ext>
            </a:extLst>
          </p:cNvPr>
          <p:cNvSpPr>
            <a:spLocks noChangeAspect="1"/>
          </p:cNvSpPr>
          <p:nvPr userDrawn="1"/>
        </p:nvSpPr>
        <p:spPr>
          <a:xfrm>
            <a:off x="4442218" y="235078"/>
            <a:ext cx="3957246" cy="4270247"/>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2D3C3EE5-C1E7-4D94-8929-0FA5FFFE0EDC}"/>
              </a:ext>
            </a:extLst>
          </p:cNvPr>
          <p:cNvSpPr>
            <a:spLocks noGrp="1"/>
          </p:cNvSpPr>
          <p:nvPr>
            <p:ph type="ctrTitle" hasCustomPrompt="1"/>
          </p:nvPr>
        </p:nvSpPr>
        <p:spPr>
          <a:xfrm>
            <a:off x="4684267" y="417314"/>
            <a:ext cx="3471421" cy="3105000"/>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2A5C960A-C74B-42B5-A237-47F1B97FD3E8}"/>
              </a:ext>
            </a:extLst>
          </p:cNvPr>
          <p:cNvSpPr>
            <a:spLocks noGrp="1"/>
          </p:cNvSpPr>
          <p:nvPr>
            <p:ph type="body" sz="quarter" idx="11"/>
          </p:nvPr>
        </p:nvSpPr>
        <p:spPr>
          <a:xfrm>
            <a:off x="4684267" y="3712430"/>
            <a:ext cx="3471421"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4BB4E646-8E32-4794-BD3E-E767603FBC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1" y="235079"/>
            <a:ext cx="786440" cy="237600"/>
          </a:xfrm>
          <a:prstGeom prst="rect">
            <a:avLst/>
          </a:prstGeom>
        </p:spPr>
      </p:pic>
    </p:spTree>
    <p:extLst>
      <p:ext uri="{BB962C8B-B14F-4D97-AF65-F5344CB8AC3E}">
        <p14:creationId xmlns:p14="http://schemas.microsoft.com/office/powerpoint/2010/main" val="26342660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5738334" y="947878"/>
            <a:ext cx="2661130" cy="2266904"/>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5738334" y="3661415"/>
            <a:ext cx="2661130"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746125" y="947879"/>
            <a:ext cx="4354574" cy="2266904"/>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en-US" dirty="0"/>
              <a:t>Click icon to add picture</a:t>
            </a:r>
          </a:p>
        </p:txBody>
      </p:sp>
      <p:pic>
        <p:nvPicPr>
          <p:cNvPr id="6" name="Graphic 5">
            <a:extLst>
              <a:ext uri="{FF2B5EF4-FFF2-40B4-BE49-F238E27FC236}">
                <a16:creationId xmlns:a16="http://schemas.microsoft.com/office/drawing/2014/main" id="{F060AC1F-823B-423D-80EF-C95EEC3DFE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38334" y="235079"/>
            <a:ext cx="786440" cy="237600"/>
          </a:xfrm>
          <a:prstGeom prst="rect">
            <a:avLst/>
          </a:prstGeom>
        </p:spPr>
      </p:pic>
    </p:spTree>
    <p:extLst>
      <p:ext uri="{BB962C8B-B14F-4D97-AF65-F5344CB8AC3E}">
        <p14:creationId xmlns:p14="http://schemas.microsoft.com/office/powerpoint/2010/main" val="3735484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4457336" y="947878"/>
            <a:ext cx="3940539" cy="2266904"/>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4457336" y="3661415"/>
            <a:ext cx="3940539"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746126" y="947879"/>
            <a:ext cx="3077611" cy="3321036"/>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en-US" dirty="0"/>
              <a:t>Click icon to add picture</a:t>
            </a:r>
          </a:p>
        </p:txBody>
      </p:sp>
      <p:pic>
        <p:nvPicPr>
          <p:cNvPr id="6" name="Graphic 5">
            <a:extLst>
              <a:ext uri="{FF2B5EF4-FFF2-40B4-BE49-F238E27FC236}">
                <a16:creationId xmlns:a16="http://schemas.microsoft.com/office/drawing/2014/main" id="{5638D828-F203-4122-8387-83B5C7962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7" y="235079"/>
            <a:ext cx="786440" cy="237600"/>
          </a:xfrm>
          <a:prstGeom prst="rect">
            <a:avLst/>
          </a:prstGeom>
        </p:spPr>
      </p:pic>
    </p:spTree>
    <p:extLst>
      <p:ext uri="{BB962C8B-B14F-4D97-AF65-F5344CB8AC3E}">
        <p14:creationId xmlns:p14="http://schemas.microsoft.com/office/powerpoint/2010/main" val="3260749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749301" y="947878"/>
            <a:ext cx="2661130" cy="2266904"/>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749301" y="3661415"/>
            <a:ext cx="2661130"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4044031" y="947879"/>
            <a:ext cx="4354574" cy="2266904"/>
          </a:xfrm>
          <a:solidFill>
            <a:schemeClr val="accent2"/>
          </a:solidFill>
        </p:spPr>
        <p:txBody>
          <a:bodyPr vert="horz" lIns="0" tIns="0" rIns="0" bIns="0" rtlCol="0" anchor="ctr" anchorCtr="0">
            <a:noAutofit/>
          </a:bodyPr>
          <a:lstStyle>
            <a:lvl1pPr>
              <a:defRPr lang="en-US" b="0">
                <a:solidFill>
                  <a:schemeClr val="bg1"/>
                </a:solidFill>
              </a:defRPr>
            </a:lvl1pPr>
          </a:lstStyle>
          <a:p>
            <a:pPr lvl="0" algn="ctr"/>
            <a:r>
              <a:rPr lang="en-US" dirty="0"/>
              <a:t>Click icon to add picture</a:t>
            </a:r>
          </a:p>
        </p:txBody>
      </p:sp>
      <p:pic>
        <p:nvPicPr>
          <p:cNvPr id="6" name="Graphic 5">
            <a:extLst>
              <a:ext uri="{FF2B5EF4-FFF2-40B4-BE49-F238E27FC236}">
                <a16:creationId xmlns:a16="http://schemas.microsoft.com/office/drawing/2014/main" id="{B5699398-41B8-46F6-A97E-83496DC7B1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1" y="235079"/>
            <a:ext cx="786440" cy="237600"/>
          </a:xfrm>
          <a:prstGeom prst="rect">
            <a:avLst/>
          </a:prstGeom>
        </p:spPr>
      </p:pic>
    </p:spTree>
    <p:extLst>
      <p:ext uri="{BB962C8B-B14F-4D97-AF65-F5344CB8AC3E}">
        <p14:creationId xmlns:p14="http://schemas.microsoft.com/office/powerpoint/2010/main" val="936646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749300" y="947878"/>
            <a:ext cx="3940539" cy="2266904"/>
          </a:xfrm>
        </p:spPr>
        <p:txBody>
          <a:bodyPr anchor="t" anchorCtr="0"/>
          <a:lstStyle>
            <a:lvl1pPr algn="l">
              <a:defRPr sz="45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749300" y="3661415"/>
            <a:ext cx="3940539" cy="607500"/>
          </a:xfrm>
        </p:spPr>
        <p:txBody>
          <a:bodyPr anchor="b"/>
          <a:lstStyle>
            <a:lvl1pPr>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5320265" y="947879"/>
            <a:ext cx="3077611" cy="3321036"/>
          </a:xfrm>
          <a:solidFill>
            <a:schemeClr val="accent2"/>
          </a:solidFill>
        </p:spPr>
        <p:txBody>
          <a:bodyPr vert="horz" lIns="0" tIns="0" rIns="0" bIns="0" rtlCol="0" anchor="ctr" anchorCtr="0">
            <a:noAutofit/>
          </a:bodyPr>
          <a:lstStyle>
            <a:lvl1pPr>
              <a:defRPr lang="en-US" b="0">
                <a:solidFill>
                  <a:schemeClr val="bg1"/>
                </a:solidFill>
              </a:defRPr>
            </a:lvl1pPr>
          </a:lstStyle>
          <a:p>
            <a:pPr lvl="0" algn="ctr"/>
            <a:r>
              <a:rPr lang="en-US" dirty="0"/>
              <a:t>Click icon to add picture</a:t>
            </a:r>
          </a:p>
        </p:txBody>
      </p:sp>
      <p:pic>
        <p:nvPicPr>
          <p:cNvPr id="7" name="Graphic 6">
            <a:extLst>
              <a:ext uri="{FF2B5EF4-FFF2-40B4-BE49-F238E27FC236}">
                <a16:creationId xmlns:a16="http://schemas.microsoft.com/office/drawing/2014/main" id="{4E44907E-8D0D-4F59-8361-80E6BF8CFF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1" y="235079"/>
            <a:ext cx="786440" cy="237600"/>
          </a:xfrm>
          <a:prstGeom prst="rect">
            <a:avLst/>
          </a:prstGeom>
        </p:spPr>
      </p:pic>
    </p:spTree>
    <p:extLst>
      <p:ext uri="{BB962C8B-B14F-4D97-AF65-F5344CB8AC3E}">
        <p14:creationId xmlns:p14="http://schemas.microsoft.com/office/powerpoint/2010/main" val="39525414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0E872EC-3AE0-D655-9AEC-38AAD9534F47}"/>
              </a:ext>
            </a:extLst>
          </p:cNvPr>
          <p:cNvSpPr>
            <a:spLocks noGrp="1"/>
          </p:cNvSpPr>
          <p:nvPr>
            <p:ph type="body" sz="quarter" idx="10" hasCustomPrompt="1"/>
          </p:nvPr>
        </p:nvSpPr>
        <p:spPr>
          <a:xfrm>
            <a:off x="752475" y="132160"/>
            <a:ext cx="2094310" cy="191690"/>
          </a:xfrm>
        </p:spPr>
        <p:txBody>
          <a:bodyPr/>
          <a:lstStyle>
            <a:lvl1pPr>
              <a:defRPr sz="900" b="1"/>
            </a:lvl1pPr>
          </a:lstStyle>
          <a:p>
            <a:pPr lvl="0"/>
            <a:r>
              <a:rPr lang="en-US" dirty="0"/>
              <a:t>Super-title</a:t>
            </a:r>
          </a:p>
        </p:txBody>
      </p:sp>
    </p:spTree>
    <p:extLst>
      <p:ext uri="{BB962C8B-B14F-4D97-AF65-F5344CB8AC3E}">
        <p14:creationId xmlns:p14="http://schemas.microsoft.com/office/powerpoint/2010/main" val="30504103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907201"/>
            <a:ext cx="7639200" cy="3445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9770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9210" y="2000249"/>
            <a:ext cx="6698060" cy="1582787"/>
          </a:xfrm>
        </p:spPr>
        <p:txBody>
          <a:bodyPr anchor="b"/>
          <a:lstStyle>
            <a:lvl1pPr algn="r">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1929209" y="3583036"/>
            <a:ext cx="6698061" cy="645300"/>
          </a:xfrm>
        </p:spPr>
        <p:txBody>
          <a:bodyPr anchor="t">
            <a:normAutofit/>
          </a:bodyPr>
          <a:lstStyle>
            <a:lvl1pPr marL="0" indent="0" algn="r">
              <a:buNone/>
              <a:defRPr sz="150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B948B8-A791-4812-B4E5-E27E46CC9D30}" type="datetimeFigureOut">
              <a:rPr lang="en-AE" smtClean="0"/>
              <a:t>21/02/2026</a:t>
            </a:fld>
            <a:endParaRPr lang="en-AE"/>
          </a:p>
        </p:txBody>
      </p:sp>
      <p:sp>
        <p:nvSpPr>
          <p:cNvPr id="5" name="Footer Placeholder 4"/>
          <p:cNvSpPr>
            <a:spLocks noGrp="1"/>
          </p:cNvSpPr>
          <p:nvPr>
            <p:ph type="ftr" sz="quarter" idx="11"/>
          </p:nvPr>
        </p:nvSpPr>
        <p:spPr/>
        <p:txBody>
          <a:bodyPr/>
          <a:lstStyle/>
          <a:p>
            <a:endParaRPr lang="en-AE"/>
          </a:p>
        </p:txBody>
      </p:sp>
      <p:sp>
        <p:nvSpPr>
          <p:cNvPr id="6" name="Slide Number Placeholder 5"/>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3193865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0"/>
          </p:nvPr>
        </p:nvSpPr>
        <p:spPr>
          <a:xfrm>
            <a:off x="752400" y="907201"/>
            <a:ext cx="7639200" cy="344566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1C0833AE-7386-47DB-9FF2-9657C92CA91E}"/>
              </a:ext>
            </a:extLst>
          </p:cNvPr>
          <p:cNvSpPr txBox="1">
            <a:spLocks/>
          </p:cNvSpPr>
          <p:nvPr userDrawn="1"/>
        </p:nvSpPr>
        <p:spPr>
          <a:xfrm>
            <a:off x="8149114" y="4748859"/>
            <a:ext cx="242486" cy="11205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a:t>
            </a:fld>
            <a:endParaRPr lang="en-GB" sz="750" dirty="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0EA28FC-699E-47A2-B686-35545E592C47}"/>
              </a:ext>
              <a:ext uri="{C183D7F6-B498-43B3-948B-1728B52AA6E4}">
                <adec:decorative xmlns:adec="http://schemas.microsoft.com/office/drawing/2017/decorative" val="1"/>
              </a:ext>
            </a:extLst>
          </p:cNvPr>
          <p:cNvSpPr txBox="1"/>
          <p:nvPr userDrawn="1">
            <p:custDataLst>
              <p:tags r:id="rId1"/>
            </p:custDataLst>
          </p:nvPr>
        </p:nvSpPr>
        <p:spPr>
          <a:xfrm>
            <a:off x="6706010" y="4770265"/>
            <a:ext cx="1330492" cy="69250"/>
          </a:xfrm>
          <a:prstGeom prst="rect">
            <a:avLst/>
          </a:prstGeom>
          <a:noFill/>
        </p:spPr>
        <p:txBody>
          <a:bodyPr wrap="non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450" b="0" kern="1200" noProof="0" dirty="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0A63A1AD-6737-4826-AFEA-0CE2D4869EB0}"/>
              </a:ext>
            </a:extLst>
          </p:cNvPr>
          <p:cNvCxnSpPr/>
          <p:nvPr userDrawn="1"/>
        </p:nvCxnSpPr>
        <p:spPr>
          <a:xfrm>
            <a:off x="8131055" y="4748859"/>
            <a:ext cx="0" cy="1120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9963727-E8C9-426A-ACA4-1C6554BC6D72}"/>
              </a:ext>
              <a:ext uri="{C183D7F6-B498-43B3-948B-1728B52AA6E4}">
                <adec:decorative xmlns:adec="http://schemas.microsoft.com/office/drawing/2017/decorative" val="1"/>
              </a:ext>
            </a:extLst>
          </p:cNvPr>
          <p:cNvSpPr txBox="1"/>
          <p:nvPr userDrawn="1">
            <p:custDataLst>
              <p:tags r:id="rId2"/>
            </p:custDataLst>
          </p:nvPr>
        </p:nvSpPr>
        <p:spPr>
          <a:xfrm>
            <a:off x="1536437" y="4735640"/>
            <a:ext cx="4565914"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4 KPMG Tax Services Limited, a Hong Kong (SAR)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7283604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2400" y="324001"/>
            <a:ext cx="7639200" cy="584447"/>
          </a:xfrm>
        </p:spPr>
        <p:txBody>
          <a:bodyPr/>
          <a:lstStyle>
            <a:lvl1pPr>
              <a:defRPr/>
            </a:lvl1pPr>
          </a:lstStyle>
          <a:p>
            <a:r>
              <a:rPr lang="en-US" dirty="0"/>
              <a:t>Click to edit </a:t>
            </a:r>
            <a:br>
              <a:rPr lang="en-US" dirty="0"/>
            </a:br>
            <a:r>
              <a:rPr lang="en-US" dirty="0"/>
              <a:t>Master title style</a:t>
            </a:r>
          </a:p>
        </p:txBody>
      </p:sp>
      <p:sp>
        <p:nvSpPr>
          <p:cNvPr id="9" name="Text Placeholder 8"/>
          <p:cNvSpPr>
            <a:spLocks noGrp="1"/>
          </p:cNvSpPr>
          <p:nvPr>
            <p:ph type="body" sz="quarter" idx="10"/>
          </p:nvPr>
        </p:nvSpPr>
        <p:spPr>
          <a:xfrm>
            <a:off x="752400" y="1092994"/>
            <a:ext cx="7639200" cy="325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18726139"/>
      </p:ext>
    </p:extLst>
  </p:cSld>
  <p:clrMapOvr>
    <a:masterClrMapping/>
  </p:clrMapOvr>
  <p:extLst>
    <p:ext uri="{DCECCB84-F9BA-43D5-87BE-67443E8EF086}">
      <p15:sldGuideLst xmlns:p15="http://schemas.microsoft.com/office/powerpoint/2012/main">
        <p15:guide id="1" orient="horz" pos="918">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2400" y="324001"/>
            <a:ext cx="7639200" cy="584447"/>
          </a:xfrm>
        </p:spPr>
        <p:txBody>
          <a:bodyPr/>
          <a:lstStyle>
            <a:lvl1pPr>
              <a:defRPr>
                <a:solidFill>
                  <a:schemeClr val="bg1"/>
                </a:solidFill>
              </a:defRPr>
            </a:lvl1pPr>
          </a:lstStyle>
          <a:p>
            <a:r>
              <a:rPr lang="en-US" dirty="0"/>
              <a:t>Click to edit </a:t>
            </a:r>
            <a:br>
              <a:rPr lang="en-US" dirty="0"/>
            </a:br>
            <a:r>
              <a:rPr lang="en-US" dirty="0"/>
              <a:t>Master title style</a:t>
            </a:r>
          </a:p>
        </p:txBody>
      </p:sp>
      <p:sp>
        <p:nvSpPr>
          <p:cNvPr id="9" name="Text Placeholder 8"/>
          <p:cNvSpPr>
            <a:spLocks noGrp="1"/>
          </p:cNvSpPr>
          <p:nvPr>
            <p:ph type="body" sz="quarter" idx="10"/>
          </p:nvPr>
        </p:nvSpPr>
        <p:spPr>
          <a:xfrm>
            <a:off x="752400" y="1092994"/>
            <a:ext cx="7639200" cy="32598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782C517A-B876-41CE-B5E0-1F57CCD0CE41}"/>
              </a:ext>
            </a:extLst>
          </p:cNvPr>
          <p:cNvSpPr txBox="1">
            <a:spLocks/>
          </p:cNvSpPr>
          <p:nvPr userDrawn="1"/>
        </p:nvSpPr>
        <p:spPr>
          <a:xfrm>
            <a:off x="8149114" y="4748859"/>
            <a:ext cx="242486" cy="11205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a:t>
            </a:fld>
            <a:endParaRPr lang="en-GB" sz="750" dirty="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F1EFD06C-81CD-41D0-AEB1-3A254A7EA079}"/>
              </a:ext>
              <a:ext uri="{C183D7F6-B498-43B3-948B-1728B52AA6E4}">
                <adec:decorative xmlns:adec="http://schemas.microsoft.com/office/drawing/2017/decorative" val="1"/>
              </a:ext>
            </a:extLst>
          </p:cNvPr>
          <p:cNvSpPr txBox="1"/>
          <p:nvPr userDrawn="1">
            <p:custDataLst>
              <p:tags r:id="rId1"/>
            </p:custDataLst>
          </p:nvPr>
        </p:nvSpPr>
        <p:spPr>
          <a:xfrm>
            <a:off x="6706010" y="4770265"/>
            <a:ext cx="1330492" cy="69250"/>
          </a:xfrm>
          <a:prstGeom prst="rect">
            <a:avLst/>
          </a:prstGeom>
          <a:noFill/>
        </p:spPr>
        <p:txBody>
          <a:bodyPr wrap="non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450" b="0" kern="1200" noProof="0" dirty="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00D8E809-685D-427B-8CE3-C84863878EC5}"/>
              </a:ext>
            </a:extLst>
          </p:cNvPr>
          <p:cNvCxnSpPr/>
          <p:nvPr userDrawn="1"/>
        </p:nvCxnSpPr>
        <p:spPr>
          <a:xfrm>
            <a:off x="8131055" y="4748859"/>
            <a:ext cx="0" cy="1120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D4A7ED3-6D96-4E1C-AEDA-BD2319D81E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7239" y="4740089"/>
            <a:ext cx="428967" cy="129600"/>
          </a:xfrm>
          <a:prstGeom prst="rect">
            <a:avLst/>
          </a:prstGeom>
        </p:spPr>
      </p:pic>
      <p:sp>
        <p:nvSpPr>
          <p:cNvPr id="7" name="TextBox 6">
            <a:extLst>
              <a:ext uri="{FF2B5EF4-FFF2-40B4-BE49-F238E27FC236}">
                <a16:creationId xmlns:a16="http://schemas.microsoft.com/office/drawing/2014/main" id="{4AD34DC5-5F04-43AB-98E3-C3D7670EC49B}"/>
              </a:ext>
              <a:ext uri="{C183D7F6-B498-43B3-948B-1728B52AA6E4}">
                <adec:decorative xmlns:adec="http://schemas.microsoft.com/office/drawing/2017/decorative" val="1"/>
              </a:ext>
            </a:extLst>
          </p:cNvPr>
          <p:cNvSpPr txBox="1"/>
          <p:nvPr userDrawn="1">
            <p:custDataLst>
              <p:tags r:id="rId2"/>
            </p:custDataLst>
          </p:nvPr>
        </p:nvSpPr>
        <p:spPr>
          <a:xfrm>
            <a:off x="1536437" y="4735640"/>
            <a:ext cx="4565914"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4 KPMG Tax Services Limited, a Hong Kong (SAR)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858333860"/>
      </p:ext>
    </p:extLst>
  </p:cSld>
  <p:clrMapOvr>
    <a:masterClrMapping/>
  </p:clrMapOvr>
  <p:extLst>
    <p:ext uri="{DCECCB84-F9BA-43D5-87BE-67443E8EF086}">
      <p15:sldGuideLst xmlns:p15="http://schemas.microsoft.com/office/powerpoint/2012/main">
        <p15:guide id="1" orient="horz" pos="918">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907201"/>
            <a:ext cx="3726000" cy="3445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4665600" y="907201"/>
            <a:ext cx="3726000" cy="3445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897453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lvl1pPr>
              <a:defRPr>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0"/>
          </p:nvPr>
        </p:nvSpPr>
        <p:spPr>
          <a:xfrm>
            <a:off x="752400" y="907201"/>
            <a:ext cx="3726000" cy="344566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4665600" y="907201"/>
            <a:ext cx="3726000" cy="344566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hape 8">
            <a:extLst>
              <a:ext uri="{FF2B5EF4-FFF2-40B4-BE49-F238E27FC236}">
                <a16:creationId xmlns:a16="http://schemas.microsoft.com/office/drawing/2014/main" id="{CCDEA53B-91E3-466E-B366-434ABBBE1D61}"/>
              </a:ext>
            </a:extLst>
          </p:cNvPr>
          <p:cNvSpPr txBox="1">
            <a:spLocks/>
          </p:cNvSpPr>
          <p:nvPr userDrawn="1"/>
        </p:nvSpPr>
        <p:spPr>
          <a:xfrm>
            <a:off x="8149114" y="4748859"/>
            <a:ext cx="242486" cy="11205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a:t>
            </a:fld>
            <a:endParaRPr lang="en-GB" sz="75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4D98E59B-0AD1-406C-BFC4-CE85C2225EBD}"/>
              </a:ext>
              <a:ext uri="{C183D7F6-B498-43B3-948B-1728B52AA6E4}">
                <adec:decorative xmlns:adec="http://schemas.microsoft.com/office/drawing/2017/decorative" val="1"/>
              </a:ext>
            </a:extLst>
          </p:cNvPr>
          <p:cNvSpPr txBox="1"/>
          <p:nvPr userDrawn="1">
            <p:custDataLst>
              <p:tags r:id="rId1"/>
            </p:custDataLst>
          </p:nvPr>
        </p:nvSpPr>
        <p:spPr>
          <a:xfrm>
            <a:off x="6706010" y="4770265"/>
            <a:ext cx="1330492" cy="69250"/>
          </a:xfrm>
          <a:prstGeom prst="rect">
            <a:avLst/>
          </a:prstGeom>
          <a:noFill/>
        </p:spPr>
        <p:txBody>
          <a:bodyPr wrap="non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450" b="0" kern="1200" noProof="0" dirty="0">
                <a:solidFill>
                  <a:schemeClr val="bg1"/>
                </a:solidFill>
                <a:latin typeface="+mn-lt"/>
                <a:ea typeface="+mn-ea"/>
                <a:cs typeface="+mn-cs"/>
              </a:rPr>
              <a:t>Document Classification: KPMG Confidential</a:t>
            </a:r>
          </a:p>
        </p:txBody>
      </p:sp>
      <p:cxnSp>
        <p:nvCxnSpPr>
          <p:cNvPr id="10" name="Straight Connector 9">
            <a:extLst>
              <a:ext uri="{FF2B5EF4-FFF2-40B4-BE49-F238E27FC236}">
                <a16:creationId xmlns:a16="http://schemas.microsoft.com/office/drawing/2014/main" id="{2BDA7980-EB11-48EC-8B0C-64FEE5F09A8F}"/>
              </a:ext>
            </a:extLst>
          </p:cNvPr>
          <p:cNvCxnSpPr/>
          <p:nvPr userDrawn="1"/>
        </p:nvCxnSpPr>
        <p:spPr>
          <a:xfrm>
            <a:off x="8131055" y="4748859"/>
            <a:ext cx="0" cy="1120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99502BE-C8A6-4A0B-921A-0DBDE5F9561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7239" y="4740089"/>
            <a:ext cx="428967" cy="129600"/>
          </a:xfrm>
          <a:prstGeom prst="rect">
            <a:avLst/>
          </a:prstGeom>
        </p:spPr>
      </p:pic>
      <p:sp>
        <p:nvSpPr>
          <p:cNvPr id="8" name="TextBox 7">
            <a:extLst>
              <a:ext uri="{FF2B5EF4-FFF2-40B4-BE49-F238E27FC236}">
                <a16:creationId xmlns:a16="http://schemas.microsoft.com/office/drawing/2014/main" id="{0A9ED18C-5906-4DB7-8238-DAC47384A7FF}"/>
              </a:ext>
              <a:ext uri="{C183D7F6-B498-43B3-948B-1728B52AA6E4}">
                <adec:decorative xmlns:adec="http://schemas.microsoft.com/office/drawing/2017/decorative" val="1"/>
              </a:ext>
            </a:extLst>
          </p:cNvPr>
          <p:cNvSpPr txBox="1"/>
          <p:nvPr userDrawn="1">
            <p:custDataLst>
              <p:tags r:id="rId2"/>
            </p:custDataLst>
          </p:nvPr>
        </p:nvSpPr>
        <p:spPr>
          <a:xfrm>
            <a:off x="1536437" y="4735640"/>
            <a:ext cx="4565914"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4 KPMG Tax Services Limited, a Hong Kong (SAR)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8339176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907201"/>
            <a:ext cx="3726000" cy="3445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4665600" y="907200"/>
            <a:ext cx="3726000" cy="34452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42030401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907200"/>
            <a:ext cx="7639200" cy="1647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752400" y="2705400"/>
            <a:ext cx="7639200" cy="16470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0956227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665600" y="907200"/>
            <a:ext cx="3726000" cy="34452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752400" y="907200"/>
            <a:ext cx="3726000" cy="34452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9937723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3376800" y="2705400"/>
            <a:ext cx="2390400" cy="16470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752400" y="2705400"/>
            <a:ext cx="2390400" cy="1647000"/>
          </a:xfr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752400" y="907200"/>
            <a:ext cx="2390400" cy="1647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001200" y="2705400"/>
            <a:ext cx="2390400" cy="1647000"/>
          </a:xfr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3376800" y="907200"/>
            <a:ext cx="2390400" cy="1647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001200" y="907200"/>
            <a:ext cx="2390400" cy="1647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940925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1"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310302"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3835092"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379575"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746125" y="916884"/>
            <a:ext cx="1467542"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0609" y="916884"/>
            <a:ext cx="1467542"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3835092" y="916884"/>
            <a:ext cx="1467542"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379574" y="916884"/>
            <a:ext cx="1467542"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6924058" y="916884"/>
            <a:ext cx="1467542"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6924059"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94991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13234" y="514351"/>
            <a:ext cx="7514035" cy="131444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113235" y="2000250"/>
            <a:ext cx="3671291" cy="2343151"/>
          </a:xfrm>
        </p:spPr>
        <p:txBody>
          <a:bodyPr>
            <a:normAutofit/>
          </a:bodyPr>
          <a:lstStyle>
            <a:lvl1pPr>
              <a:buClr>
                <a:schemeClr val="accent1">
                  <a:lumMod val="75000"/>
                </a:schemeClr>
              </a:buClr>
              <a:defRPr sz="1350"/>
            </a:lvl1pPr>
            <a:lvl2pPr>
              <a:buClr>
                <a:schemeClr val="accent1">
                  <a:lumMod val="75000"/>
                </a:schemeClr>
              </a:buClr>
              <a:defRPr sz="1200"/>
            </a:lvl2pPr>
            <a:lvl3pPr>
              <a:buClr>
                <a:schemeClr val="accent1">
                  <a:lumMod val="75000"/>
                </a:schemeClr>
              </a:buClr>
              <a:defRPr sz="1050"/>
            </a:lvl3pPr>
            <a:lvl4pPr>
              <a:buClr>
                <a:schemeClr val="accent1">
                  <a:lumMod val="75000"/>
                </a:schemeClr>
              </a:buClr>
              <a:defRPr sz="900"/>
            </a:lvl4pPr>
            <a:lvl5pPr>
              <a:buClr>
                <a:schemeClr val="accent1">
                  <a:lumMod val="75000"/>
                </a:schemeClr>
              </a:buCl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55975" y="2000250"/>
            <a:ext cx="3671292" cy="2343150"/>
          </a:xfrm>
        </p:spPr>
        <p:txBody>
          <a:bodyPr>
            <a:normAutofit/>
          </a:bodyPr>
          <a:lstStyle>
            <a:lvl1pPr>
              <a:buClr>
                <a:schemeClr val="accent1">
                  <a:lumMod val="75000"/>
                </a:schemeClr>
              </a:buClr>
              <a:defRPr sz="1350"/>
            </a:lvl1pPr>
            <a:lvl2pPr>
              <a:buClr>
                <a:schemeClr val="accent1">
                  <a:lumMod val="75000"/>
                </a:schemeClr>
              </a:buClr>
              <a:defRPr sz="1200"/>
            </a:lvl2pPr>
            <a:lvl3pPr>
              <a:buClr>
                <a:schemeClr val="accent1">
                  <a:lumMod val="75000"/>
                </a:schemeClr>
              </a:buClr>
              <a:defRPr sz="1050"/>
            </a:lvl3pPr>
            <a:lvl4pPr>
              <a:buClr>
                <a:schemeClr val="accent1">
                  <a:lumMod val="75000"/>
                </a:schemeClr>
              </a:buClr>
              <a:defRPr sz="900"/>
            </a:lvl4pPr>
            <a:lvl5pPr>
              <a:buClr>
                <a:schemeClr val="accent1">
                  <a:lumMod val="75000"/>
                </a:schemeClr>
              </a:buCl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EB948B8-A791-4812-B4E5-E27E46CC9D30}" type="datetimeFigureOut">
              <a:rPr lang="en-AE" smtClean="0"/>
              <a:t>21/02/2026</a:t>
            </a:fld>
            <a:endParaRPr lang="en-AE"/>
          </a:p>
        </p:txBody>
      </p:sp>
      <p:sp>
        <p:nvSpPr>
          <p:cNvPr id="6" name="Footer Placeholder 5"/>
          <p:cNvSpPr>
            <a:spLocks noGrp="1"/>
          </p:cNvSpPr>
          <p:nvPr>
            <p:ph type="ftr" sz="quarter" idx="11"/>
          </p:nvPr>
        </p:nvSpPr>
        <p:spPr/>
        <p:txBody>
          <a:bodyPr/>
          <a:lstStyle/>
          <a:p>
            <a:endParaRPr lang="en-AE"/>
          </a:p>
        </p:txBody>
      </p:sp>
      <p:sp>
        <p:nvSpPr>
          <p:cNvPr id="7" name="Slide Number Placeholder 6"/>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9655185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lvl1pPr>
              <a:defRPr>
                <a:solidFill>
                  <a:schemeClr val="accent1"/>
                </a:solidFill>
              </a:defRPr>
            </a:lvl1pPr>
          </a:lstStyle>
          <a:p>
            <a:r>
              <a:rPr lang="en-US"/>
              <a:t>Click to edit Master title style</a:t>
            </a:r>
            <a:endParaRPr lang="en-US" dirty="0"/>
          </a:p>
        </p:txBody>
      </p:sp>
      <p:sp>
        <p:nvSpPr>
          <p:cNvPr id="9" name="Text Placeholder 8"/>
          <p:cNvSpPr>
            <a:spLocks noGrp="1"/>
          </p:cNvSpPr>
          <p:nvPr>
            <p:ph type="body" sz="quarter" idx="10"/>
          </p:nvPr>
        </p:nvSpPr>
        <p:spPr>
          <a:xfrm>
            <a:off x="752401"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310302"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3835092"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379575"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746125" y="916884"/>
            <a:ext cx="1467542"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0609" y="916884"/>
            <a:ext cx="1467542"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3835092" y="916884"/>
            <a:ext cx="1467542"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379574" y="916884"/>
            <a:ext cx="1467542"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6924058" y="916884"/>
            <a:ext cx="1467542"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6924059" y="1370485"/>
            <a:ext cx="1253953"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446634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9293AC-1607-44C9-88BD-BAA65BD58AC3}"/>
              </a:ext>
            </a:extLst>
          </p:cNvPr>
          <p:cNvSpPr/>
          <p:nvPr userDrawn="1"/>
        </p:nvSpPr>
        <p:spPr>
          <a:xfrm>
            <a:off x="0" y="1"/>
            <a:ext cx="9144000" cy="199081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a:solidFill>
                <a:schemeClr val="bg1"/>
              </a:solidFill>
            </a:endParaRPr>
          </a:p>
        </p:txBody>
      </p:sp>
      <p:sp>
        <p:nvSpPr>
          <p:cNvPr id="2" name="Title 1"/>
          <p:cNvSpPr>
            <a:spLocks noGrp="1"/>
          </p:cNvSpPr>
          <p:nvPr>
            <p:ph type="title"/>
          </p:nvPr>
        </p:nvSpPr>
        <p:spPr>
          <a:xfrm>
            <a:off x="752400" y="324000"/>
            <a:ext cx="7639200" cy="388800"/>
          </a:xfrm>
        </p:spPr>
        <p:txBody>
          <a:bodyPr/>
          <a:lstStyle>
            <a:lvl1pPr>
              <a:defRPr>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0"/>
          </p:nvPr>
        </p:nvSpPr>
        <p:spPr>
          <a:xfrm>
            <a:off x="752400" y="1441041"/>
            <a:ext cx="1403196"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311401" y="1441041"/>
            <a:ext cx="1403196"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3870402" y="1441041"/>
            <a:ext cx="1403196"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429403" y="1441041"/>
            <a:ext cx="1403196"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6988404" y="1441041"/>
            <a:ext cx="1403196"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7">
            <a:extLst>
              <a:ext uri="{FF2B5EF4-FFF2-40B4-BE49-F238E27FC236}">
                <a16:creationId xmlns:a16="http://schemas.microsoft.com/office/drawing/2014/main" id="{7E12C1BE-95EF-457B-9290-2B97E3CEC031}"/>
              </a:ext>
            </a:extLst>
          </p:cNvPr>
          <p:cNvSpPr>
            <a:spLocks noGrp="1"/>
          </p:cNvSpPr>
          <p:nvPr>
            <p:ph type="body" sz="quarter" idx="20"/>
          </p:nvPr>
        </p:nvSpPr>
        <p:spPr>
          <a:xfrm>
            <a:off x="752475" y="908447"/>
            <a:ext cx="7646988" cy="33694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368820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9293AC-1607-44C9-88BD-BAA65BD58AC3}"/>
              </a:ext>
            </a:extLst>
          </p:cNvPr>
          <p:cNvSpPr/>
          <p:nvPr userDrawn="1"/>
        </p:nvSpPr>
        <p:spPr>
          <a:xfrm>
            <a:off x="0" y="0"/>
            <a:ext cx="9144000" cy="19899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a:solidFill>
                <a:schemeClr val="bg1"/>
              </a:solidFill>
            </a:endParaRPr>
          </a:p>
        </p:txBody>
      </p:sp>
      <p:sp>
        <p:nvSpPr>
          <p:cNvPr id="2" name="Title 1"/>
          <p:cNvSpPr>
            <a:spLocks noGrp="1"/>
          </p:cNvSpPr>
          <p:nvPr>
            <p:ph type="title"/>
          </p:nvPr>
        </p:nvSpPr>
        <p:spPr>
          <a:xfrm>
            <a:off x="752400" y="324000"/>
            <a:ext cx="7639200" cy="388800"/>
          </a:xfrm>
        </p:spPr>
        <p:txBody>
          <a:bodyPr/>
          <a:lstStyle>
            <a:lvl1pPr>
              <a:defRPr>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0"/>
          </p:nvPr>
        </p:nvSpPr>
        <p:spPr>
          <a:xfrm>
            <a:off x="752401" y="1441041"/>
            <a:ext cx="1797020"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02416" y="1441041"/>
            <a:ext cx="1797020"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652431" y="1441041"/>
            <a:ext cx="1797020"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602445" y="1441041"/>
            <a:ext cx="1797020" cy="2911828"/>
          </a:xfrm>
          <a:solidFill>
            <a:schemeClr val="bg1"/>
          </a:solidFill>
          <a:ln>
            <a:solidFill>
              <a:schemeClr val="accent1"/>
            </a:solid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7">
            <a:extLst>
              <a:ext uri="{FF2B5EF4-FFF2-40B4-BE49-F238E27FC236}">
                <a16:creationId xmlns:a16="http://schemas.microsoft.com/office/drawing/2014/main" id="{7E12C1BE-95EF-457B-9290-2B97E3CEC031}"/>
              </a:ext>
            </a:extLst>
          </p:cNvPr>
          <p:cNvSpPr>
            <a:spLocks noGrp="1"/>
          </p:cNvSpPr>
          <p:nvPr>
            <p:ph type="body" sz="quarter" idx="20"/>
          </p:nvPr>
        </p:nvSpPr>
        <p:spPr>
          <a:xfrm>
            <a:off x="752475" y="908447"/>
            <a:ext cx="7646988" cy="33694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974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1"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673041"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599956"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526872"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746125" y="916884"/>
            <a:ext cx="1864730"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73040" y="916884"/>
            <a:ext cx="1864730"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599955" y="916884"/>
            <a:ext cx="1864730"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26872" y="916884"/>
            <a:ext cx="1864730" cy="453600"/>
          </a:xfrm>
          <a:prstGeom prst="homePlate">
            <a:avLst>
              <a:gd name="adj" fmla="val 34200"/>
            </a:avLst>
          </a:prstGeom>
          <a:solidFill>
            <a:schemeClr val="tx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2658358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lvl1pPr>
              <a:defRPr>
                <a:solidFill>
                  <a:schemeClr val="accent1"/>
                </a:solidFill>
              </a:defRPr>
            </a:lvl1pPr>
          </a:lstStyle>
          <a:p>
            <a:r>
              <a:rPr lang="en-US"/>
              <a:t>Click to edit Master title style</a:t>
            </a:r>
            <a:endParaRPr lang="en-US" dirty="0"/>
          </a:p>
        </p:txBody>
      </p:sp>
      <p:sp>
        <p:nvSpPr>
          <p:cNvPr id="9" name="Text Placeholder 8"/>
          <p:cNvSpPr>
            <a:spLocks noGrp="1"/>
          </p:cNvSpPr>
          <p:nvPr>
            <p:ph type="body" sz="quarter" idx="10"/>
          </p:nvPr>
        </p:nvSpPr>
        <p:spPr>
          <a:xfrm>
            <a:off x="752401"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673041"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599956"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526872" y="1370485"/>
            <a:ext cx="1644571" cy="2982385"/>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746125" y="916884"/>
            <a:ext cx="1864730"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73040" y="916884"/>
            <a:ext cx="1864730"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599955" y="916884"/>
            <a:ext cx="1864730"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26872" y="916884"/>
            <a:ext cx="1864730" cy="4536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33880505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lvl1pPr>
              <a:defRPr>
                <a:solidFill>
                  <a:schemeClr val="tx2"/>
                </a:solidFill>
              </a:defRPr>
            </a:lvl1pPr>
          </a:lstStyle>
          <a:p>
            <a:r>
              <a:rPr lang="en-US"/>
              <a:t>Click to edit Master title style</a:t>
            </a:r>
            <a:endParaRPr lang="en-US" dirty="0"/>
          </a:p>
        </p:txBody>
      </p:sp>
      <p:sp>
        <p:nvSpPr>
          <p:cNvPr id="16" name="Text Placeholder 10"/>
          <p:cNvSpPr>
            <a:spLocks noGrp="1"/>
          </p:cNvSpPr>
          <p:nvPr>
            <p:ph type="body" sz="quarter" idx="21"/>
          </p:nvPr>
        </p:nvSpPr>
        <p:spPr bwMode="gray">
          <a:xfrm>
            <a:off x="3456000" y="2050781"/>
            <a:ext cx="2232000" cy="1161000"/>
          </a:xfrm>
          <a:prstGeom prst="rect">
            <a:avLst/>
          </a:prstGeom>
          <a:solidFill>
            <a:schemeClr val="accent1"/>
          </a:solidFill>
          <a:ln>
            <a:noFill/>
          </a:ln>
        </p:spPr>
        <p:txBody>
          <a:bodyPr lIns="54000" tIns="54000" rIns="54000" bIns="54000" anchor="ctr" anchorCtr="1">
            <a:noAutofit/>
          </a:bodyPr>
          <a:lstStyle>
            <a:lvl1pPr algn="ctr">
              <a:defRPr sz="1050">
                <a:solidFill>
                  <a:schemeClr val="bg1"/>
                </a:solidFill>
                <a:latin typeface="+mn-lt"/>
                <a:cs typeface="Arial" panose="020B0604020202020204" pitchFamily="34" charset="0"/>
              </a:defRPr>
            </a:lvl1pPr>
          </a:lstStyle>
          <a:p>
            <a:pPr lvl="0"/>
            <a:r>
              <a:rPr lang="en-US"/>
              <a:t>Click to edit Master text styles</a:t>
            </a:r>
          </a:p>
        </p:txBody>
      </p:sp>
      <p:sp>
        <p:nvSpPr>
          <p:cNvPr id="38" name="Text Placeholder 37">
            <a:extLst>
              <a:ext uri="{FF2B5EF4-FFF2-40B4-BE49-F238E27FC236}">
                <a16:creationId xmlns:a16="http://schemas.microsoft.com/office/drawing/2014/main" id="{959D2011-ECCF-4C3B-AEA4-7C80B6F9F856}"/>
              </a:ext>
            </a:extLst>
          </p:cNvPr>
          <p:cNvSpPr>
            <a:spLocks noGrp="1"/>
          </p:cNvSpPr>
          <p:nvPr>
            <p:ph type="body" sz="quarter" idx="53"/>
          </p:nvPr>
        </p:nvSpPr>
        <p:spPr>
          <a:xfrm>
            <a:off x="752511" y="908446"/>
            <a:ext cx="3739294" cy="1641800"/>
          </a:xfrm>
          <a:custGeom>
            <a:avLst/>
            <a:gdLst>
              <a:gd name="connsiteX0" fmla="*/ 0 w 3739294"/>
              <a:gd name="connsiteY0" fmla="*/ 0 h 2189066"/>
              <a:gd name="connsiteX1" fmla="*/ 3739294 w 3739294"/>
              <a:gd name="connsiteY1" fmla="*/ 0 h 2189066"/>
              <a:gd name="connsiteX2" fmla="*/ 3739294 w 3739294"/>
              <a:gd name="connsiteY2" fmla="*/ 1361113 h 2189066"/>
              <a:gd name="connsiteX3" fmla="*/ 2541490 w 3739294"/>
              <a:gd name="connsiteY3" fmla="*/ 1361113 h 2189066"/>
              <a:gd name="connsiteX4" fmla="*/ 2541490 w 3739294"/>
              <a:gd name="connsiteY4" fmla="*/ 2189066 h 2189066"/>
              <a:gd name="connsiteX5" fmla="*/ 0 w 3739294"/>
              <a:gd name="connsiteY5" fmla="*/ 2189066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0" y="0"/>
                </a:moveTo>
                <a:lnTo>
                  <a:pt x="3739294" y="0"/>
                </a:lnTo>
                <a:lnTo>
                  <a:pt x="3739294" y="1361113"/>
                </a:lnTo>
                <a:lnTo>
                  <a:pt x="2541490" y="1361113"/>
                </a:lnTo>
                <a:lnTo>
                  <a:pt x="2541490" y="2189066"/>
                </a:lnTo>
                <a:lnTo>
                  <a:pt x="0" y="2189066"/>
                </a:lnTo>
                <a:close/>
              </a:path>
            </a:pathLst>
          </a:custGeom>
          <a:solidFill>
            <a:schemeClr val="accent1">
              <a:lumMod val="20000"/>
              <a:lumOff val="80000"/>
            </a:schemeClr>
          </a:solidFill>
          <a:ln w="12700">
            <a:noFill/>
          </a:ln>
        </p:spPr>
        <p:txBody>
          <a:bodyPr wrap="square" lIns="54000" tIns="54000" rIns="1332000" bIns="54000">
            <a:noAutofit/>
          </a:bodyPr>
          <a:lstStyle>
            <a:lvl1pPr>
              <a:defRPr sz="1050">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Text Placeholder 40">
            <a:extLst>
              <a:ext uri="{FF2B5EF4-FFF2-40B4-BE49-F238E27FC236}">
                <a16:creationId xmlns:a16="http://schemas.microsoft.com/office/drawing/2014/main" id="{285C34CE-0040-4ED7-812A-EC82A47A56D7}"/>
              </a:ext>
            </a:extLst>
          </p:cNvPr>
          <p:cNvSpPr>
            <a:spLocks noGrp="1"/>
          </p:cNvSpPr>
          <p:nvPr>
            <p:ph type="body" sz="quarter" idx="54"/>
          </p:nvPr>
        </p:nvSpPr>
        <p:spPr>
          <a:xfrm>
            <a:off x="752511" y="2712316"/>
            <a:ext cx="3739294" cy="1641800"/>
          </a:xfrm>
          <a:custGeom>
            <a:avLst/>
            <a:gdLst>
              <a:gd name="connsiteX0" fmla="*/ 0 w 3739294"/>
              <a:gd name="connsiteY0" fmla="*/ 0 h 2189066"/>
              <a:gd name="connsiteX1" fmla="*/ 2541490 w 3739294"/>
              <a:gd name="connsiteY1" fmla="*/ 0 h 2189066"/>
              <a:gd name="connsiteX2" fmla="*/ 2541490 w 3739294"/>
              <a:gd name="connsiteY2" fmla="*/ 827953 h 2189066"/>
              <a:gd name="connsiteX3" fmla="*/ 3739294 w 3739294"/>
              <a:gd name="connsiteY3" fmla="*/ 827953 h 2189066"/>
              <a:gd name="connsiteX4" fmla="*/ 3739294 w 3739294"/>
              <a:gd name="connsiteY4" fmla="*/ 2189066 h 2189066"/>
              <a:gd name="connsiteX5" fmla="*/ 0 w 3739294"/>
              <a:gd name="connsiteY5" fmla="*/ 2189066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0" y="0"/>
                </a:moveTo>
                <a:lnTo>
                  <a:pt x="2541490" y="0"/>
                </a:lnTo>
                <a:lnTo>
                  <a:pt x="2541490" y="827953"/>
                </a:lnTo>
                <a:lnTo>
                  <a:pt x="3739294" y="827953"/>
                </a:lnTo>
                <a:lnTo>
                  <a:pt x="3739294" y="2189066"/>
                </a:lnTo>
                <a:lnTo>
                  <a:pt x="0" y="2189066"/>
                </a:lnTo>
                <a:close/>
              </a:path>
            </a:pathLst>
          </a:custGeom>
          <a:solidFill>
            <a:schemeClr val="accent1">
              <a:lumMod val="20000"/>
              <a:lumOff val="80000"/>
            </a:schemeClr>
          </a:solidFill>
          <a:ln w="12700">
            <a:noFill/>
          </a:ln>
        </p:spPr>
        <p:txBody>
          <a:bodyPr wrap="square" lIns="54000" tIns="54000" rIns="1332000" bIns="54000">
            <a:noAutofit/>
          </a:bodyPr>
          <a:lstStyle>
            <a:lvl1pPr>
              <a:defRPr sz="1050">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Text Placeholder 38">
            <a:extLst>
              <a:ext uri="{FF2B5EF4-FFF2-40B4-BE49-F238E27FC236}">
                <a16:creationId xmlns:a16="http://schemas.microsoft.com/office/drawing/2014/main" id="{62EF2175-0A38-4DE3-B808-279449EE3E0A}"/>
              </a:ext>
            </a:extLst>
          </p:cNvPr>
          <p:cNvSpPr>
            <a:spLocks noGrp="1"/>
          </p:cNvSpPr>
          <p:nvPr>
            <p:ph type="body" sz="quarter" idx="55"/>
          </p:nvPr>
        </p:nvSpPr>
        <p:spPr>
          <a:xfrm>
            <a:off x="4652307" y="908446"/>
            <a:ext cx="3739294" cy="1641800"/>
          </a:xfrm>
          <a:custGeom>
            <a:avLst/>
            <a:gdLst>
              <a:gd name="connsiteX0" fmla="*/ 0 w 3739294"/>
              <a:gd name="connsiteY0" fmla="*/ 0 h 2189066"/>
              <a:gd name="connsiteX1" fmla="*/ 3739294 w 3739294"/>
              <a:gd name="connsiteY1" fmla="*/ 0 h 2189066"/>
              <a:gd name="connsiteX2" fmla="*/ 3739294 w 3739294"/>
              <a:gd name="connsiteY2" fmla="*/ 2189066 h 2189066"/>
              <a:gd name="connsiteX3" fmla="*/ 1197693 w 3739294"/>
              <a:gd name="connsiteY3" fmla="*/ 2189066 h 2189066"/>
              <a:gd name="connsiteX4" fmla="*/ 1197693 w 3739294"/>
              <a:gd name="connsiteY4" fmla="*/ 1361113 h 2189066"/>
              <a:gd name="connsiteX5" fmla="*/ 0 w 3739294"/>
              <a:gd name="connsiteY5" fmla="*/ 1361113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0" y="0"/>
                </a:moveTo>
                <a:lnTo>
                  <a:pt x="3739294" y="0"/>
                </a:lnTo>
                <a:lnTo>
                  <a:pt x="3739294" y="2189066"/>
                </a:lnTo>
                <a:lnTo>
                  <a:pt x="1197693" y="2189066"/>
                </a:lnTo>
                <a:lnTo>
                  <a:pt x="1197693" y="1361113"/>
                </a:lnTo>
                <a:lnTo>
                  <a:pt x="0" y="1361113"/>
                </a:lnTo>
                <a:close/>
              </a:path>
            </a:pathLst>
          </a:custGeom>
          <a:solidFill>
            <a:schemeClr val="accent1">
              <a:lumMod val="20000"/>
              <a:lumOff val="80000"/>
            </a:schemeClr>
          </a:solidFill>
          <a:ln w="12700">
            <a:noFill/>
          </a:ln>
        </p:spPr>
        <p:txBody>
          <a:bodyPr wrap="square" lIns="1332000" tIns="54000" rIns="54000" bIns="54000">
            <a:noAutofit/>
          </a:bodyPr>
          <a:lstStyle>
            <a:lvl1pPr>
              <a:defRPr sz="1050">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Text Placeholder 39">
            <a:extLst>
              <a:ext uri="{FF2B5EF4-FFF2-40B4-BE49-F238E27FC236}">
                <a16:creationId xmlns:a16="http://schemas.microsoft.com/office/drawing/2014/main" id="{8DCD0C63-F3A2-4CCE-89ED-D659427AA31A}"/>
              </a:ext>
            </a:extLst>
          </p:cNvPr>
          <p:cNvSpPr>
            <a:spLocks noGrp="1"/>
          </p:cNvSpPr>
          <p:nvPr>
            <p:ph type="body" sz="quarter" idx="56"/>
          </p:nvPr>
        </p:nvSpPr>
        <p:spPr>
          <a:xfrm>
            <a:off x="4652307" y="2712316"/>
            <a:ext cx="3739294" cy="1641800"/>
          </a:xfrm>
          <a:custGeom>
            <a:avLst/>
            <a:gdLst>
              <a:gd name="connsiteX0" fmla="*/ 1197693 w 3739294"/>
              <a:gd name="connsiteY0" fmla="*/ 0 h 2189066"/>
              <a:gd name="connsiteX1" fmla="*/ 3739294 w 3739294"/>
              <a:gd name="connsiteY1" fmla="*/ 0 h 2189066"/>
              <a:gd name="connsiteX2" fmla="*/ 3739294 w 3739294"/>
              <a:gd name="connsiteY2" fmla="*/ 2189066 h 2189066"/>
              <a:gd name="connsiteX3" fmla="*/ 0 w 3739294"/>
              <a:gd name="connsiteY3" fmla="*/ 2189066 h 2189066"/>
              <a:gd name="connsiteX4" fmla="*/ 0 w 3739294"/>
              <a:gd name="connsiteY4" fmla="*/ 827953 h 2189066"/>
              <a:gd name="connsiteX5" fmla="*/ 1197693 w 3739294"/>
              <a:gd name="connsiteY5" fmla="*/ 827953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1197693" y="0"/>
                </a:moveTo>
                <a:lnTo>
                  <a:pt x="3739294" y="0"/>
                </a:lnTo>
                <a:lnTo>
                  <a:pt x="3739294" y="2189066"/>
                </a:lnTo>
                <a:lnTo>
                  <a:pt x="0" y="2189066"/>
                </a:lnTo>
                <a:lnTo>
                  <a:pt x="0" y="827953"/>
                </a:lnTo>
                <a:lnTo>
                  <a:pt x="1197693" y="827953"/>
                </a:lnTo>
                <a:close/>
              </a:path>
            </a:pathLst>
          </a:custGeom>
          <a:solidFill>
            <a:schemeClr val="accent1">
              <a:lumMod val="20000"/>
              <a:lumOff val="80000"/>
            </a:schemeClr>
          </a:solidFill>
          <a:ln w="12700">
            <a:noFill/>
          </a:ln>
        </p:spPr>
        <p:txBody>
          <a:bodyPr wrap="square" lIns="1332000" tIns="54000" rIns="54000" bIns="54000">
            <a:noAutofit/>
          </a:bodyPr>
          <a:lstStyle>
            <a:lvl1pPr>
              <a:defRPr sz="1050">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307522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752400" y="1207369"/>
            <a:ext cx="3726000" cy="31455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752400" y="914160"/>
            <a:ext cx="3726000" cy="291600"/>
          </a:xfrm>
          <a:solidFill>
            <a:schemeClr val="tx2"/>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16" name="Text Placeholder 8"/>
          <p:cNvSpPr>
            <a:spLocks noGrp="1"/>
          </p:cNvSpPr>
          <p:nvPr>
            <p:ph type="body" sz="quarter" idx="21"/>
          </p:nvPr>
        </p:nvSpPr>
        <p:spPr>
          <a:xfrm>
            <a:off x="4665600" y="1207369"/>
            <a:ext cx="3726000" cy="31455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4665600" y="914160"/>
            <a:ext cx="3726000" cy="291600"/>
          </a:xfrm>
          <a:solidFill>
            <a:schemeClr val="tx2"/>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Tree>
    <p:extLst>
      <p:ext uri="{BB962C8B-B14F-4D97-AF65-F5344CB8AC3E}">
        <p14:creationId xmlns:p14="http://schemas.microsoft.com/office/powerpoint/2010/main" val="41458506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752400" y="1207369"/>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752400" y="914160"/>
            <a:ext cx="3726000" cy="291600"/>
          </a:xfrm>
          <a:solidFill>
            <a:schemeClr val="tx2"/>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16" name="Text Placeholder 8"/>
          <p:cNvSpPr>
            <a:spLocks noGrp="1"/>
          </p:cNvSpPr>
          <p:nvPr>
            <p:ph type="body" sz="quarter" idx="21"/>
          </p:nvPr>
        </p:nvSpPr>
        <p:spPr>
          <a:xfrm>
            <a:off x="4665600" y="1207369"/>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4665600" y="914160"/>
            <a:ext cx="3726000" cy="291600"/>
          </a:xfrm>
          <a:solidFill>
            <a:schemeClr val="tx2"/>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7" name="Text Placeholder 8"/>
          <p:cNvSpPr>
            <a:spLocks noGrp="1"/>
          </p:cNvSpPr>
          <p:nvPr>
            <p:ph type="body" sz="quarter" idx="23"/>
          </p:nvPr>
        </p:nvSpPr>
        <p:spPr>
          <a:xfrm>
            <a:off x="752400" y="3014738"/>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8"/>
          <p:cNvSpPr>
            <a:spLocks noGrp="1"/>
          </p:cNvSpPr>
          <p:nvPr>
            <p:ph type="body" sz="quarter" idx="24"/>
          </p:nvPr>
        </p:nvSpPr>
        <p:spPr>
          <a:xfrm>
            <a:off x="752400" y="2721529"/>
            <a:ext cx="3726000" cy="291600"/>
          </a:xfrm>
          <a:solidFill>
            <a:schemeClr val="tx2"/>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9" name="Text Placeholder 8"/>
          <p:cNvSpPr>
            <a:spLocks noGrp="1"/>
          </p:cNvSpPr>
          <p:nvPr>
            <p:ph type="body" sz="quarter" idx="25"/>
          </p:nvPr>
        </p:nvSpPr>
        <p:spPr>
          <a:xfrm>
            <a:off x="4665600" y="3014738"/>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26"/>
          </p:nvPr>
        </p:nvSpPr>
        <p:spPr>
          <a:xfrm>
            <a:off x="4665600" y="2721529"/>
            <a:ext cx="3726000" cy="291600"/>
          </a:xfrm>
          <a:solidFill>
            <a:schemeClr val="tx2"/>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Tree>
    <p:extLst>
      <p:ext uri="{BB962C8B-B14F-4D97-AF65-F5344CB8AC3E}">
        <p14:creationId xmlns:p14="http://schemas.microsoft.com/office/powerpoint/2010/main" val="34089521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2400" y="324000"/>
            <a:ext cx="7639200" cy="388800"/>
          </a:xfrm>
        </p:spPr>
        <p:txBody>
          <a:bodyPr/>
          <a:lstStyle>
            <a:lvl1pPr>
              <a:defRPr>
                <a:solidFill>
                  <a:schemeClr val="bg1"/>
                </a:solidFill>
              </a:defRPr>
            </a:lvl1pPr>
          </a:lstStyle>
          <a:p>
            <a:r>
              <a:rPr lang="en-US"/>
              <a:t>Click to edit Master title style</a:t>
            </a:r>
            <a:endParaRPr lang="en-US" dirty="0"/>
          </a:p>
        </p:txBody>
      </p:sp>
      <p:sp>
        <p:nvSpPr>
          <p:cNvPr id="19" name="Text Placeholder 8"/>
          <p:cNvSpPr>
            <a:spLocks noGrp="1"/>
          </p:cNvSpPr>
          <p:nvPr>
            <p:ph type="body" sz="quarter" idx="19"/>
          </p:nvPr>
        </p:nvSpPr>
        <p:spPr>
          <a:xfrm>
            <a:off x="752400" y="1207369"/>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752400" y="914160"/>
            <a:ext cx="3726000" cy="291600"/>
          </a:xfrm>
          <a:solidFill>
            <a:schemeClr val="accent1"/>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16" name="Text Placeholder 8"/>
          <p:cNvSpPr>
            <a:spLocks noGrp="1"/>
          </p:cNvSpPr>
          <p:nvPr>
            <p:ph type="body" sz="quarter" idx="21"/>
          </p:nvPr>
        </p:nvSpPr>
        <p:spPr>
          <a:xfrm>
            <a:off x="4665600" y="1207369"/>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4665600" y="914160"/>
            <a:ext cx="3726000" cy="291600"/>
          </a:xfrm>
          <a:solidFill>
            <a:schemeClr val="accent1"/>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7" name="Text Placeholder 8"/>
          <p:cNvSpPr>
            <a:spLocks noGrp="1"/>
          </p:cNvSpPr>
          <p:nvPr>
            <p:ph type="body" sz="quarter" idx="23"/>
          </p:nvPr>
        </p:nvSpPr>
        <p:spPr>
          <a:xfrm>
            <a:off x="752400" y="3014738"/>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8"/>
          <p:cNvSpPr>
            <a:spLocks noGrp="1"/>
          </p:cNvSpPr>
          <p:nvPr>
            <p:ph type="body" sz="quarter" idx="24"/>
          </p:nvPr>
        </p:nvSpPr>
        <p:spPr>
          <a:xfrm>
            <a:off x="752400" y="2721529"/>
            <a:ext cx="3726000" cy="291600"/>
          </a:xfrm>
          <a:solidFill>
            <a:schemeClr val="accent1"/>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9" name="Text Placeholder 8"/>
          <p:cNvSpPr>
            <a:spLocks noGrp="1"/>
          </p:cNvSpPr>
          <p:nvPr>
            <p:ph type="body" sz="quarter" idx="25"/>
          </p:nvPr>
        </p:nvSpPr>
        <p:spPr>
          <a:xfrm>
            <a:off x="4665600" y="3014738"/>
            <a:ext cx="3726000" cy="1339200"/>
          </a:xfrm>
          <a:solidFill>
            <a:schemeClr val="accent1">
              <a:lumMod val="20000"/>
              <a:lumOff val="80000"/>
            </a:schemeClr>
          </a:solidFill>
          <a:ln w="12700">
            <a:noFill/>
          </a:ln>
        </p:spPr>
        <p:txBody>
          <a:bodyPr lIns="108000" tIns="108000" rIns="108000" bIns="108000"/>
          <a:lstStyle>
            <a:lvl1pPr>
              <a:defRPr sz="11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26"/>
          </p:nvPr>
        </p:nvSpPr>
        <p:spPr>
          <a:xfrm>
            <a:off x="4665600" y="2721529"/>
            <a:ext cx="3726000" cy="291600"/>
          </a:xfrm>
          <a:solidFill>
            <a:schemeClr val="accent1"/>
          </a:solidFill>
          <a:ln w="12700">
            <a:noFill/>
          </a:ln>
        </p:spPr>
        <p:txBody>
          <a:bodyPr lIns="108000" tIns="108000" rIns="108000" bIns="108000" anchor="ctr"/>
          <a:lstStyle>
            <a:lvl1pPr>
              <a:defRPr sz="1125">
                <a:solidFill>
                  <a:schemeClr val="bg1"/>
                </a:solidFill>
              </a:defRPr>
            </a:lvl1pPr>
            <a:lvl2pPr>
              <a:defRPr sz="1050"/>
            </a:lvl2pPr>
            <a:lvl3pPr>
              <a:defRPr sz="1050"/>
            </a:lvl3pPr>
            <a:lvl4pPr>
              <a:defRPr sz="1050"/>
            </a:lvl4pPr>
            <a:lvl5pPr>
              <a:defRPr sz="1050"/>
            </a:lvl5pPr>
          </a:lstStyle>
          <a:p>
            <a:pPr lvl="0"/>
            <a:r>
              <a:rPr lang="en-US"/>
              <a:t>Click to edit Master text styles</a:t>
            </a:r>
          </a:p>
        </p:txBody>
      </p:sp>
      <p:sp>
        <p:nvSpPr>
          <p:cNvPr id="12" name="Shape 8">
            <a:extLst>
              <a:ext uri="{FF2B5EF4-FFF2-40B4-BE49-F238E27FC236}">
                <a16:creationId xmlns:a16="http://schemas.microsoft.com/office/drawing/2014/main" id="{DB1C4B43-FA0B-4D0C-8437-66F19EF1F34D}"/>
              </a:ext>
            </a:extLst>
          </p:cNvPr>
          <p:cNvSpPr txBox="1">
            <a:spLocks/>
          </p:cNvSpPr>
          <p:nvPr userDrawn="1"/>
        </p:nvSpPr>
        <p:spPr>
          <a:xfrm>
            <a:off x="8149114" y="4748859"/>
            <a:ext cx="242486" cy="11205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a:t>
            </a:fld>
            <a:endParaRPr lang="en-GB" sz="750" dirty="0">
              <a:solidFill>
                <a:schemeClr val="bg1"/>
              </a:solidFill>
              <a:latin typeface="+mn-lt"/>
              <a:ea typeface="Arial"/>
              <a:cs typeface="Arial" panose="020B0604020202020204" pitchFamily="34" charset="0"/>
            </a:endParaRPr>
          </a:p>
        </p:txBody>
      </p:sp>
      <p:cxnSp>
        <p:nvCxnSpPr>
          <p:cNvPr id="15" name="Straight Connector 14">
            <a:extLst>
              <a:ext uri="{FF2B5EF4-FFF2-40B4-BE49-F238E27FC236}">
                <a16:creationId xmlns:a16="http://schemas.microsoft.com/office/drawing/2014/main" id="{C10010BD-37F2-4205-B603-26BE05D01DB4}"/>
              </a:ext>
            </a:extLst>
          </p:cNvPr>
          <p:cNvCxnSpPr/>
          <p:nvPr userDrawn="1"/>
        </p:nvCxnSpPr>
        <p:spPr>
          <a:xfrm>
            <a:off x="8131055" y="4748859"/>
            <a:ext cx="0" cy="1120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26A36270-111B-47D1-A4BC-A201FCA819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7239" y="4740089"/>
            <a:ext cx="428967" cy="129600"/>
          </a:xfrm>
          <a:prstGeom prst="rect">
            <a:avLst/>
          </a:prstGeom>
        </p:spPr>
      </p:pic>
      <p:sp>
        <p:nvSpPr>
          <p:cNvPr id="14" name="TextBox 13">
            <a:extLst>
              <a:ext uri="{FF2B5EF4-FFF2-40B4-BE49-F238E27FC236}">
                <a16:creationId xmlns:a16="http://schemas.microsoft.com/office/drawing/2014/main" id="{77841C22-7357-4553-B4DD-6E1B6CF69326}"/>
              </a:ext>
              <a:ext uri="{C183D7F6-B498-43B3-948B-1728B52AA6E4}">
                <adec:decorative xmlns:adec="http://schemas.microsoft.com/office/drawing/2017/decorative" val="1"/>
              </a:ext>
            </a:extLst>
          </p:cNvPr>
          <p:cNvSpPr txBox="1"/>
          <p:nvPr userDrawn="1">
            <p:custDataLst>
              <p:tags r:id="rId1"/>
            </p:custDataLst>
          </p:nvPr>
        </p:nvSpPr>
        <p:spPr>
          <a:xfrm>
            <a:off x="1536437" y="4735640"/>
            <a:ext cx="4565914"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4 KPMG Tax Services Limited, a Hong Kong (SAR)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4188038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A131ED-15DF-49E2-88F8-BD22F6A42CF2}"/>
              </a:ext>
            </a:extLst>
          </p:cNvPr>
          <p:cNvSpPr>
            <a:spLocks/>
          </p:cNvSpPr>
          <p:nvPr userDrawn="1"/>
        </p:nvSpPr>
        <p:spPr>
          <a:xfrm>
            <a:off x="746126" y="1066800"/>
            <a:ext cx="5902325" cy="3074978"/>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82714" y="1878281"/>
            <a:ext cx="4592586" cy="1217807"/>
          </a:xfrm>
        </p:spPr>
        <p:txBody>
          <a:bodyPr anchor="t" anchorCtr="0"/>
          <a:lstStyle>
            <a:lvl1pPr algn="l">
              <a:defRPr sz="4950">
                <a:solidFill>
                  <a:schemeClr val="bg1"/>
                </a:solidFill>
              </a:defRPr>
            </a:lvl1pPr>
          </a:lstStyle>
          <a:p>
            <a:r>
              <a:rPr lang="en-US"/>
              <a:t>Click to edit Master title style</a:t>
            </a:r>
            <a:endParaRPr lang="en-US" dirty="0"/>
          </a:p>
        </p:txBody>
      </p:sp>
      <p:sp>
        <p:nvSpPr>
          <p:cNvPr id="10" name="Text Placeholder 11">
            <a:extLst>
              <a:ext uri="{FF2B5EF4-FFF2-40B4-BE49-F238E27FC236}">
                <a16:creationId xmlns:a16="http://schemas.microsoft.com/office/drawing/2014/main" id="{836EFA93-8BDA-4CEE-9492-BCAC7D96A594}"/>
              </a:ext>
            </a:extLst>
          </p:cNvPr>
          <p:cNvSpPr>
            <a:spLocks noGrp="1"/>
          </p:cNvSpPr>
          <p:nvPr>
            <p:ph type="body" sz="quarter" idx="10" hasCustomPrompt="1"/>
          </p:nvPr>
        </p:nvSpPr>
        <p:spPr>
          <a:xfrm>
            <a:off x="982715" y="1165076"/>
            <a:ext cx="896937" cy="541734"/>
          </a:xfrm>
        </p:spPr>
        <p:txBody>
          <a:bodyPr/>
          <a:lstStyle>
            <a:lvl1pPr>
              <a:lnSpc>
                <a:spcPct val="80000"/>
              </a:lnSpc>
              <a:defRPr sz="45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11" name="Text Placeholder 13">
            <a:extLst>
              <a:ext uri="{FF2B5EF4-FFF2-40B4-BE49-F238E27FC236}">
                <a16:creationId xmlns:a16="http://schemas.microsoft.com/office/drawing/2014/main" id="{B47020FA-A884-4E3E-885A-5D5189B2CA9D}"/>
              </a:ext>
            </a:extLst>
          </p:cNvPr>
          <p:cNvSpPr>
            <a:spLocks noGrp="1"/>
          </p:cNvSpPr>
          <p:nvPr>
            <p:ph type="body" sz="quarter" idx="11"/>
          </p:nvPr>
        </p:nvSpPr>
        <p:spPr>
          <a:xfrm>
            <a:off x="982714" y="3349339"/>
            <a:ext cx="4592586" cy="6075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72511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329134" y="1993900"/>
            <a:ext cx="3455391" cy="432197"/>
          </a:xfrm>
        </p:spPr>
        <p:txBody>
          <a:bodyPr anchor="b">
            <a:noAutofit/>
          </a:bodyPr>
          <a:lstStyle>
            <a:lvl1pPr marL="0" indent="0">
              <a:buNone/>
              <a:defRPr sz="2100" b="0">
                <a:solidFill>
                  <a:schemeClr val="accent1">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113233" y="2501503"/>
            <a:ext cx="3671292" cy="1841897"/>
          </a:xfrm>
        </p:spPr>
        <p:txBody>
          <a:bodyPr anchor="t">
            <a:normAutofit/>
          </a:bodyPr>
          <a:lstStyle>
            <a:lvl1pPr>
              <a:buClr>
                <a:schemeClr val="accent1">
                  <a:lumMod val="75000"/>
                </a:schemeClr>
              </a:buClr>
              <a:defRPr sz="1350"/>
            </a:lvl1pPr>
            <a:lvl2pPr>
              <a:buClr>
                <a:schemeClr val="accent1">
                  <a:lumMod val="75000"/>
                </a:schemeClr>
              </a:buClr>
              <a:defRPr sz="1200"/>
            </a:lvl2pPr>
            <a:lvl3pPr>
              <a:buClr>
                <a:schemeClr val="accent1">
                  <a:lumMod val="75000"/>
                </a:schemeClr>
              </a:buClr>
              <a:defRPr sz="1050"/>
            </a:lvl3pPr>
            <a:lvl4pPr>
              <a:buClr>
                <a:schemeClr val="accent1">
                  <a:lumMod val="75000"/>
                </a:schemeClr>
              </a:buClr>
              <a:defRPr sz="900"/>
            </a:lvl4pPr>
            <a:lvl5pPr>
              <a:buClr>
                <a:schemeClr val="accent1">
                  <a:lumMod val="75000"/>
                </a:schemeClr>
              </a:buCl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60366" y="2000250"/>
            <a:ext cx="3466903" cy="432197"/>
          </a:xfrm>
        </p:spPr>
        <p:txBody>
          <a:bodyPr anchor="b">
            <a:noAutofit/>
          </a:bodyPr>
          <a:lstStyle>
            <a:lvl1pPr marL="0" indent="0">
              <a:buNone/>
              <a:defRPr sz="2100" b="0">
                <a:solidFill>
                  <a:schemeClr val="accent1">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955975" y="2501503"/>
            <a:ext cx="3671292" cy="1841897"/>
          </a:xfrm>
        </p:spPr>
        <p:txBody>
          <a:bodyPr anchor="t">
            <a:normAutofit/>
          </a:bodyPr>
          <a:lstStyle>
            <a:lvl1pPr>
              <a:buClr>
                <a:schemeClr val="accent1">
                  <a:lumMod val="75000"/>
                </a:schemeClr>
              </a:buClr>
              <a:defRPr sz="1350"/>
            </a:lvl1pPr>
            <a:lvl2pPr>
              <a:buClr>
                <a:schemeClr val="accent1">
                  <a:lumMod val="75000"/>
                </a:schemeClr>
              </a:buClr>
              <a:defRPr sz="1200"/>
            </a:lvl2pPr>
            <a:lvl3pPr>
              <a:buClr>
                <a:schemeClr val="accent1">
                  <a:lumMod val="75000"/>
                </a:schemeClr>
              </a:buClr>
              <a:defRPr sz="1050"/>
            </a:lvl3pPr>
            <a:lvl4pPr>
              <a:buClr>
                <a:schemeClr val="accent1">
                  <a:lumMod val="75000"/>
                </a:schemeClr>
              </a:buClr>
              <a:defRPr sz="900"/>
            </a:lvl4pPr>
            <a:lvl5pPr>
              <a:buClr>
                <a:schemeClr val="accent1">
                  <a:lumMod val="75000"/>
                </a:schemeClr>
              </a:buCl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EB948B8-A791-4812-B4E5-E27E46CC9D30}" type="datetimeFigureOut">
              <a:rPr lang="en-AE" smtClean="0"/>
              <a:t>21/02/2026</a:t>
            </a:fld>
            <a:endParaRPr lang="en-AE"/>
          </a:p>
        </p:txBody>
      </p:sp>
      <p:sp>
        <p:nvSpPr>
          <p:cNvPr id="8" name="Footer Placeholder 7"/>
          <p:cNvSpPr>
            <a:spLocks noGrp="1"/>
          </p:cNvSpPr>
          <p:nvPr>
            <p:ph type="ftr" sz="quarter" idx="11"/>
          </p:nvPr>
        </p:nvSpPr>
        <p:spPr/>
        <p:txBody>
          <a:bodyPr/>
          <a:lstStyle/>
          <a:p>
            <a:endParaRPr lang="en-AE"/>
          </a:p>
        </p:txBody>
      </p:sp>
      <p:sp>
        <p:nvSpPr>
          <p:cNvPr id="9" name="Slide Number Placeholder 8"/>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8202148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A131ED-15DF-49E2-88F8-BD22F6A42CF2}"/>
              </a:ext>
            </a:extLst>
          </p:cNvPr>
          <p:cNvSpPr>
            <a:spLocks/>
          </p:cNvSpPr>
          <p:nvPr userDrawn="1"/>
        </p:nvSpPr>
        <p:spPr>
          <a:xfrm>
            <a:off x="746126" y="1066800"/>
            <a:ext cx="5902325" cy="3074978"/>
          </a:xfrm>
          <a:prstGeom prst="rect">
            <a:avLst/>
          </a:prstGeom>
          <a:gradFill>
            <a:gsLst>
              <a:gs pos="100000">
                <a:srgbClr val="ACEAFF"/>
              </a:gs>
              <a:gs pos="0">
                <a:schemeClr val="accent4"/>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82714" y="1878281"/>
            <a:ext cx="4592586" cy="1217807"/>
          </a:xfrm>
        </p:spPr>
        <p:txBody>
          <a:bodyPr anchor="t" anchorCtr="0"/>
          <a:lstStyle>
            <a:lvl1pPr algn="l">
              <a:defRPr sz="4950">
                <a:solidFill>
                  <a:schemeClr val="tx2"/>
                </a:solidFill>
              </a:defRPr>
            </a:lvl1pPr>
          </a:lstStyle>
          <a:p>
            <a:r>
              <a:rPr lang="en-US"/>
              <a:t>Click to edit Master title style</a:t>
            </a:r>
            <a:endParaRPr lang="en-US" dirty="0"/>
          </a:p>
        </p:txBody>
      </p:sp>
      <p:sp>
        <p:nvSpPr>
          <p:cNvPr id="10" name="Text Placeholder 11">
            <a:extLst>
              <a:ext uri="{FF2B5EF4-FFF2-40B4-BE49-F238E27FC236}">
                <a16:creationId xmlns:a16="http://schemas.microsoft.com/office/drawing/2014/main" id="{836EFA93-8BDA-4CEE-9492-BCAC7D96A594}"/>
              </a:ext>
            </a:extLst>
          </p:cNvPr>
          <p:cNvSpPr>
            <a:spLocks noGrp="1"/>
          </p:cNvSpPr>
          <p:nvPr>
            <p:ph type="body" sz="quarter" idx="10" hasCustomPrompt="1"/>
          </p:nvPr>
        </p:nvSpPr>
        <p:spPr>
          <a:xfrm>
            <a:off x="982715" y="1165076"/>
            <a:ext cx="896937" cy="541734"/>
          </a:xfrm>
        </p:spPr>
        <p:txBody>
          <a:bodyPr/>
          <a:lstStyle>
            <a:lvl1pPr>
              <a:lnSpc>
                <a:spcPct val="80000"/>
              </a:lnSpc>
              <a:defRPr sz="45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11" name="Text Placeholder 13">
            <a:extLst>
              <a:ext uri="{FF2B5EF4-FFF2-40B4-BE49-F238E27FC236}">
                <a16:creationId xmlns:a16="http://schemas.microsoft.com/office/drawing/2014/main" id="{B47020FA-A884-4E3E-885A-5D5189B2CA9D}"/>
              </a:ext>
            </a:extLst>
          </p:cNvPr>
          <p:cNvSpPr>
            <a:spLocks noGrp="1"/>
          </p:cNvSpPr>
          <p:nvPr>
            <p:ph type="body" sz="quarter" idx="11"/>
          </p:nvPr>
        </p:nvSpPr>
        <p:spPr>
          <a:xfrm>
            <a:off x="982714" y="3349339"/>
            <a:ext cx="4592586" cy="6075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93722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A131ED-15DF-49E2-88F8-BD22F6A42CF2}"/>
              </a:ext>
            </a:extLst>
          </p:cNvPr>
          <p:cNvSpPr>
            <a:spLocks/>
          </p:cNvSpPr>
          <p:nvPr userDrawn="1"/>
        </p:nvSpPr>
        <p:spPr>
          <a:xfrm>
            <a:off x="746126" y="1066800"/>
            <a:ext cx="5902325" cy="3074978"/>
          </a:xfrm>
          <a:prstGeom prst="rect">
            <a:avLst/>
          </a:prstGeom>
          <a:gradFill>
            <a:gsLst>
              <a:gs pos="100000">
                <a:srgbClr val="ACEAFF"/>
              </a:gs>
              <a:gs pos="0">
                <a:schemeClr val="accent4"/>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82714" y="1878281"/>
            <a:ext cx="4592586" cy="1217807"/>
          </a:xfrm>
        </p:spPr>
        <p:txBody>
          <a:bodyPr anchor="t" anchorCtr="0"/>
          <a:lstStyle>
            <a:lvl1pPr algn="l">
              <a:defRPr sz="4950">
                <a:solidFill>
                  <a:schemeClr val="tx2"/>
                </a:solidFill>
              </a:defRPr>
            </a:lvl1pPr>
          </a:lstStyle>
          <a:p>
            <a:r>
              <a:rPr lang="en-US"/>
              <a:t>Click to edit Master title style</a:t>
            </a:r>
            <a:endParaRPr lang="en-US" dirty="0"/>
          </a:p>
        </p:txBody>
      </p:sp>
      <p:sp>
        <p:nvSpPr>
          <p:cNvPr id="10" name="Text Placeholder 11">
            <a:extLst>
              <a:ext uri="{FF2B5EF4-FFF2-40B4-BE49-F238E27FC236}">
                <a16:creationId xmlns:a16="http://schemas.microsoft.com/office/drawing/2014/main" id="{836EFA93-8BDA-4CEE-9492-BCAC7D96A594}"/>
              </a:ext>
            </a:extLst>
          </p:cNvPr>
          <p:cNvSpPr>
            <a:spLocks noGrp="1"/>
          </p:cNvSpPr>
          <p:nvPr>
            <p:ph type="body" sz="quarter" idx="10" hasCustomPrompt="1"/>
          </p:nvPr>
        </p:nvSpPr>
        <p:spPr>
          <a:xfrm>
            <a:off x="982715" y="1165076"/>
            <a:ext cx="896937" cy="541734"/>
          </a:xfrm>
        </p:spPr>
        <p:txBody>
          <a:bodyPr/>
          <a:lstStyle>
            <a:lvl1pPr>
              <a:lnSpc>
                <a:spcPct val="80000"/>
              </a:lnSpc>
              <a:defRPr sz="45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11" name="Text Placeholder 13">
            <a:extLst>
              <a:ext uri="{FF2B5EF4-FFF2-40B4-BE49-F238E27FC236}">
                <a16:creationId xmlns:a16="http://schemas.microsoft.com/office/drawing/2014/main" id="{B47020FA-A884-4E3E-885A-5D5189B2CA9D}"/>
              </a:ext>
            </a:extLst>
          </p:cNvPr>
          <p:cNvSpPr>
            <a:spLocks noGrp="1"/>
          </p:cNvSpPr>
          <p:nvPr>
            <p:ph type="body" sz="quarter" idx="11"/>
          </p:nvPr>
        </p:nvSpPr>
        <p:spPr>
          <a:xfrm>
            <a:off x="982714" y="3349339"/>
            <a:ext cx="4592586" cy="6075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14002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00338D"/>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9F6308-3807-44EC-BBE8-A9C8A9430A2C}"/>
              </a:ext>
            </a:extLst>
          </p:cNvPr>
          <p:cNvSpPr>
            <a:spLocks noChangeAspect="1"/>
          </p:cNvSpPr>
          <p:nvPr userDrawn="1"/>
        </p:nvSpPr>
        <p:spPr>
          <a:xfrm>
            <a:off x="749301" y="947880"/>
            <a:ext cx="6328756" cy="3297139"/>
          </a:xfrm>
          <a:prstGeom prst="rect">
            <a:avLst/>
          </a:prstGeom>
          <a:gradFill>
            <a:gsLst>
              <a:gs pos="100000">
                <a:srgbClr val="ACEAFF"/>
              </a:gs>
              <a:gs pos="0">
                <a:schemeClr val="accent4"/>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96113" y="1135698"/>
            <a:ext cx="5831819" cy="2160000"/>
          </a:xfrm>
        </p:spPr>
        <p:txBody>
          <a:bodyPr anchor="t" anchorCtr="0"/>
          <a:lstStyle>
            <a:lvl1pPr algn="l">
              <a:defRPr sz="4950">
                <a:solidFill>
                  <a:schemeClr val="tx2"/>
                </a:solidFill>
              </a:defRPr>
            </a:lvl1pPr>
          </a:lstStyle>
          <a:p>
            <a:endParaRPr lang="en-US" dirty="0"/>
          </a:p>
        </p:txBody>
      </p:sp>
    </p:spTree>
    <p:extLst>
      <p:ext uri="{BB962C8B-B14F-4D97-AF65-F5344CB8AC3E}">
        <p14:creationId xmlns:p14="http://schemas.microsoft.com/office/powerpoint/2010/main" val="41088527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37C20205-1972-45A0-B67B-992440214E15}"/>
              </a:ext>
            </a:extLst>
          </p:cNvPr>
          <p:cNvSpPr txBox="1"/>
          <p:nvPr userDrawn="1">
            <p:custDataLst>
              <p:tags r:id="rId1"/>
            </p:custDataLst>
          </p:nvPr>
        </p:nvSpPr>
        <p:spPr>
          <a:xfrm>
            <a:off x="749551" y="4238700"/>
            <a:ext cx="2055050" cy="115416"/>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750" b="1" kern="1200" noProof="0" dirty="0">
                <a:solidFill>
                  <a:schemeClr val="bg1"/>
                </a:solidFill>
                <a:latin typeface="+mn-lt"/>
                <a:ea typeface="+mn-ea"/>
                <a:cs typeface="+mn-cs"/>
              </a:rPr>
              <a:t>Document Classification: KPMG Confidential</a:t>
            </a:r>
          </a:p>
        </p:txBody>
      </p:sp>
      <p:sp>
        <p:nvSpPr>
          <p:cNvPr id="18" name="Text Placeholder 2">
            <a:extLst>
              <a:ext uri="{FF2B5EF4-FFF2-40B4-BE49-F238E27FC236}">
                <a16:creationId xmlns:a16="http://schemas.microsoft.com/office/drawing/2014/main" id="{D1985B1E-1660-49BE-A364-FD65E9A824E4}"/>
              </a:ext>
            </a:extLst>
          </p:cNvPr>
          <p:cNvSpPr>
            <a:spLocks noGrp="1"/>
          </p:cNvSpPr>
          <p:nvPr>
            <p:ph type="body" sz="quarter" idx="10"/>
          </p:nvPr>
        </p:nvSpPr>
        <p:spPr>
          <a:xfrm>
            <a:off x="749301" y="2740328"/>
            <a:ext cx="6255182" cy="1382316"/>
          </a:xfrm>
        </p:spPr>
        <p:txBody>
          <a:bodyPr anchor="b"/>
          <a:lstStyle>
            <a:lvl1pPr>
              <a:spcAft>
                <a:spcPts val="750"/>
              </a:spcAft>
              <a:defRPr sz="750" b="0">
                <a:solidFill>
                  <a:schemeClr val="bg1"/>
                </a:solidFill>
              </a:defRPr>
            </a:lvl1pPr>
            <a:lvl2pPr>
              <a:spcAft>
                <a:spcPts val="750"/>
              </a:spcAft>
              <a:defRPr sz="750" b="0">
                <a:solidFill>
                  <a:schemeClr val="bg1"/>
                </a:solidFill>
              </a:defRPr>
            </a:lvl2pPr>
          </a:lstStyle>
          <a:p>
            <a:pPr lvl="0"/>
            <a:r>
              <a:rPr lang="en-US"/>
              <a:t>Click to edit Master text styles</a:t>
            </a:r>
          </a:p>
          <a:p>
            <a:pPr lvl="1"/>
            <a:r>
              <a:rPr lang="en-US"/>
              <a:t>Second level</a:t>
            </a:r>
          </a:p>
        </p:txBody>
      </p:sp>
      <p:pic>
        <p:nvPicPr>
          <p:cNvPr id="16" name="Graphic 15">
            <a:extLst>
              <a:ext uri="{FF2B5EF4-FFF2-40B4-BE49-F238E27FC236}">
                <a16:creationId xmlns:a16="http://schemas.microsoft.com/office/drawing/2014/main" id="{1451B2DB-8DD3-4AA8-A8FE-1EC956920A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9301" y="235079"/>
            <a:ext cx="786440" cy="237600"/>
          </a:xfrm>
          <a:prstGeom prst="rect">
            <a:avLst/>
          </a:prstGeom>
        </p:spPr>
      </p:pic>
      <p:sp>
        <p:nvSpPr>
          <p:cNvPr id="52" name="Text Placeholder 2">
            <a:extLst>
              <a:ext uri="{FF2B5EF4-FFF2-40B4-BE49-F238E27FC236}">
                <a16:creationId xmlns:a16="http://schemas.microsoft.com/office/drawing/2014/main" id="{90714A4B-E7E8-43FD-81E4-BBA98F2D3B2C}"/>
              </a:ext>
            </a:extLst>
          </p:cNvPr>
          <p:cNvSpPr>
            <a:spLocks noGrp="1"/>
          </p:cNvSpPr>
          <p:nvPr>
            <p:ph type="body" sz="quarter" idx="14" hasCustomPrompt="1"/>
          </p:nvPr>
        </p:nvSpPr>
        <p:spPr>
          <a:xfrm>
            <a:off x="749301" y="2354102"/>
            <a:ext cx="2411738" cy="89298"/>
          </a:xfrm>
        </p:spPr>
        <p:txBody>
          <a:bodyPr/>
          <a:lstStyle>
            <a:lvl1pPr>
              <a:buFontTx/>
              <a:buNone/>
              <a:defRPr sz="825" b="1">
                <a:solidFill>
                  <a:schemeClr val="bg1"/>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r>
              <a:rPr lang="en-GB" dirty="0"/>
              <a:t>kpmg.com/</a:t>
            </a:r>
            <a:r>
              <a:rPr lang="en-GB" dirty="0" err="1"/>
              <a:t>cn</a:t>
            </a:r>
            <a:r>
              <a:rPr lang="en-GB" dirty="0"/>
              <a:t>/</a:t>
            </a:r>
            <a:r>
              <a:rPr lang="en-GB" dirty="0" err="1"/>
              <a:t>socialmedia</a:t>
            </a:r>
            <a:endParaRPr lang="en-GB" dirty="0"/>
          </a:p>
        </p:txBody>
      </p:sp>
      <p:grpSp>
        <p:nvGrpSpPr>
          <p:cNvPr id="2" name="Group 1">
            <a:extLst>
              <a:ext uri="{FF2B5EF4-FFF2-40B4-BE49-F238E27FC236}">
                <a16:creationId xmlns:a16="http://schemas.microsoft.com/office/drawing/2014/main" id="{6A0B2746-9E92-2E6C-D45B-DC78252D4529}"/>
              </a:ext>
            </a:extLst>
          </p:cNvPr>
          <p:cNvGrpSpPr/>
          <p:nvPr userDrawn="1"/>
        </p:nvGrpSpPr>
        <p:grpSpPr>
          <a:xfrm>
            <a:off x="749809" y="1968246"/>
            <a:ext cx="2199869" cy="301869"/>
            <a:chOff x="369827" y="5202238"/>
            <a:chExt cx="2531496" cy="402492"/>
          </a:xfrm>
        </p:grpSpPr>
        <p:grpSp>
          <p:nvGrpSpPr>
            <p:cNvPr id="3" name="Group 2">
              <a:extLst>
                <a:ext uri="{FF2B5EF4-FFF2-40B4-BE49-F238E27FC236}">
                  <a16:creationId xmlns:a16="http://schemas.microsoft.com/office/drawing/2014/main" id="{ED7FC7BF-6F08-604E-B73B-BCE942720612}"/>
                </a:ext>
              </a:extLst>
            </p:cNvPr>
            <p:cNvGrpSpPr/>
            <p:nvPr/>
          </p:nvGrpSpPr>
          <p:grpSpPr>
            <a:xfrm>
              <a:off x="2498831" y="5202238"/>
              <a:ext cx="402492" cy="402492"/>
              <a:chOff x="8115300" y="2960688"/>
              <a:chExt cx="942975" cy="942975"/>
            </a:xfrm>
          </p:grpSpPr>
          <p:pic>
            <p:nvPicPr>
              <p:cNvPr id="25" name="Picture 5">
                <a:extLst>
                  <a:ext uri="{FF2B5EF4-FFF2-40B4-BE49-F238E27FC236}">
                    <a16:creationId xmlns:a16="http://schemas.microsoft.com/office/drawing/2014/main" id="{A2E8922F-D247-0C6C-7ED1-60F9963A8D53}"/>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15300" y="2960688"/>
                <a:ext cx="9429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40">
                <a:extLst>
                  <a:ext uri="{FF2B5EF4-FFF2-40B4-BE49-F238E27FC236}">
                    <a16:creationId xmlns:a16="http://schemas.microsoft.com/office/drawing/2014/main" id="{505DC7F3-132A-23B6-C2CB-1422B0CCA06D}"/>
                  </a:ext>
                </a:extLst>
              </p:cNvPr>
              <p:cNvSpPr>
                <a:spLocks noEditPoints="1"/>
              </p:cNvSpPr>
              <p:nvPr/>
            </p:nvSpPr>
            <p:spPr bwMode="auto">
              <a:xfrm>
                <a:off x="8289925" y="3201988"/>
                <a:ext cx="593725" cy="450850"/>
              </a:xfrm>
              <a:custGeom>
                <a:avLst/>
                <a:gdLst>
                  <a:gd name="T0" fmla="*/ 318 w 374"/>
                  <a:gd name="T1" fmla="*/ 0 h 284"/>
                  <a:gd name="T2" fmla="*/ 56 w 374"/>
                  <a:gd name="T3" fmla="*/ 0 h 284"/>
                  <a:gd name="T4" fmla="*/ 56 w 374"/>
                  <a:gd name="T5" fmla="*/ 0 h 284"/>
                  <a:gd name="T6" fmla="*/ 44 w 374"/>
                  <a:gd name="T7" fmla="*/ 2 h 284"/>
                  <a:gd name="T8" fmla="*/ 34 w 374"/>
                  <a:gd name="T9" fmla="*/ 4 h 284"/>
                  <a:gd name="T10" fmla="*/ 24 w 374"/>
                  <a:gd name="T11" fmla="*/ 10 h 284"/>
                  <a:gd name="T12" fmla="*/ 16 w 374"/>
                  <a:gd name="T13" fmla="*/ 16 h 284"/>
                  <a:gd name="T14" fmla="*/ 8 w 374"/>
                  <a:gd name="T15" fmla="*/ 24 h 284"/>
                  <a:gd name="T16" fmla="*/ 4 w 374"/>
                  <a:gd name="T17" fmla="*/ 34 h 284"/>
                  <a:gd name="T18" fmla="*/ 0 w 374"/>
                  <a:gd name="T19" fmla="*/ 44 h 284"/>
                  <a:gd name="T20" fmla="*/ 0 w 374"/>
                  <a:gd name="T21" fmla="*/ 56 h 284"/>
                  <a:gd name="T22" fmla="*/ 0 w 374"/>
                  <a:gd name="T23" fmla="*/ 228 h 284"/>
                  <a:gd name="T24" fmla="*/ 0 w 374"/>
                  <a:gd name="T25" fmla="*/ 228 h 284"/>
                  <a:gd name="T26" fmla="*/ 0 w 374"/>
                  <a:gd name="T27" fmla="*/ 240 h 284"/>
                  <a:gd name="T28" fmla="*/ 4 w 374"/>
                  <a:gd name="T29" fmla="*/ 250 h 284"/>
                  <a:gd name="T30" fmla="*/ 8 w 374"/>
                  <a:gd name="T31" fmla="*/ 260 h 284"/>
                  <a:gd name="T32" fmla="*/ 16 w 374"/>
                  <a:gd name="T33" fmla="*/ 268 h 284"/>
                  <a:gd name="T34" fmla="*/ 24 w 374"/>
                  <a:gd name="T35" fmla="*/ 274 h 284"/>
                  <a:gd name="T36" fmla="*/ 34 w 374"/>
                  <a:gd name="T37" fmla="*/ 280 h 284"/>
                  <a:gd name="T38" fmla="*/ 44 w 374"/>
                  <a:gd name="T39" fmla="*/ 282 h 284"/>
                  <a:gd name="T40" fmla="*/ 56 w 374"/>
                  <a:gd name="T41" fmla="*/ 284 h 284"/>
                  <a:gd name="T42" fmla="*/ 318 w 374"/>
                  <a:gd name="T43" fmla="*/ 284 h 284"/>
                  <a:gd name="T44" fmla="*/ 318 w 374"/>
                  <a:gd name="T45" fmla="*/ 284 h 284"/>
                  <a:gd name="T46" fmla="*/ 330 w 374"/>
                  <a:gd name="T47" fmla="*/ 282 h 284"/>
                  <a:gd name="T48" fmla="*/ 340 w 374"/>
                  <a:gd name="T49" fmla="*/ 280 h 284"/>
                  <a:gd name="T50" fmla="*/ 350 w 374"/>
                  <a:gd name="T51" fmla="*/ 274 h 284"/>
                  <a:gd name="T52" fmla="*/ 358 w 374"/>
                  <a:gd name="T53" fmla="*/ 268 h 284"/>
                  <a:gd name="T54" fmla="*/ 364 w 374"/>
                  <a:gd name="T55" fmla="*/ 260 h 284"/>
                  <a:gd name="T56" fmla="*/ 370 w 374"/>
                  <a:gd name="T57" fmla="*/ 250 h 284"/>
                  <a:gd name="T58" fmla="*/ 372 w 374"/>
                  <a:gd name="T59" fmla="*/ 240 h 284"/>
                  <a:gd name="T60" fmla="*/ 374 w 374"/>
                  <a:gd name="T61" fmla="*/ 228 h 284"/>
                  <a:gd name="T62" fmla="*/ 374 w 374"/>
                  <a:gd name="T63" fmla="*/ 56 h 284"/>
                  <a:gd name="T64" fmla="*/ 374 w 374"/>
                  <a:gd name="T65" fmla="*/ 56 h 284"/>
                  <a:gd name="T66" fmla="*/ 372 w 374"/>
                  <a:gd name="T67" fmla="*/ 44 h 284"/>
                  <a:gd name="T68" fmla="*/ 370 w 374"/>
                  <a:gd name="T69" fmla="*/ 34 h 284"/>
                  <a:gd name="T70" fmla="*/ 364 w 374"/>
                  <a:gd name="T71" fmla="*/ 24 h 284"/>
                  <a:gd name="T72" fmla="*/ 358 w 374"/>
                  <a:gd name="T73" fmla="*/ 16 h 284"/>
                  <a:gd name="T74" fmla="*/ 350 w 374"/>
                  <a:gd name="T75" fmla="*/ 10 h 284"/>
                  <a:gd name="T76" fmla="*/ 340 w 374"/>
                  <a:gd name="T77" fmla="*/ 4 h 284"/>
                  <a:gd name="T78" fmla="*/ 330 w 374"/>
                  <a:gd name="T79" fmla="*/ 2 h 284"/>
                  <a:gd name="T80" fmla="*/ 318 w 374"/>
                  <a:gd name="T81" fmla="*/ 0 h 284"/>
                  <a:gd name="T82" fmla="*/ 318 w 374"/>
                  <a:gd name="T83" fmla="*/ 0 h 284"/>
                  <a:gd name="T84" fmla="*/ 132 w 374"/>
                  <a:gd name="T85" fmla="*/ 204 h 284"/>
                  <a:gd name="T86" fmla="*/ 132 w 374"/>
                  <a:gd name="T87" fmla="*/ 80 h 284"/>
                  <a:gd name="T88" fmla="*/ 240 w 374"/>
                  <a:gd name="T89" fmla="*/ 142 h 284"/>
                  <a:gd name="T90" fmla="*/ 132 w 374"/>
                  <a:gd name="T91" fmla="*/ 204 h 284"/>
                  <a:gd name="T92" fmla="*/ 132 w 374"/>
                  <a:gd name="T93"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4" h="284">
                    <a:moveTo>
                      <a:pt x="318" y="0"/>
                    </a:moveTo>
                    <a:lnTo>
                      <a:pt x="56" y="0"/>
                    </a:lnTo>
                    <a:lnTo>
                      <a:pt x="56" y="0"/>
                    </a:lnTo>
                    <a:lnTo>
                      <a:pt x="44" y="2"/>
                    </a:lnTo>
                    <a:lnTo>
                      <a:pt x="34" y="4"/>
                    </a:lnTo>
                    <a:lnTo>
                      <a:pt x="24" y="10"/>
                    </a:lnTo>
                    <a:lnTo>
                      <a:pt x="16" y="16"/>
                    </a:lnTo>
                    <a:lnTo>
                      <a:pt x="8" y="24"/>
                    </a:lnTo>
                    <a:lnTo>
                      <a:pt x="4" y="34"/>
                    </a:lnTo>
                    <a:lnTo>
                      <a:pt x="0" y="44"/>
                    </a:lnTo>
                    <a:lnTo>
                      <a:pt x="0" y="56"/>
                    </a:lnTo>
                    <a:lnTo>
                      <a:pt x="0" y="228"/>
                    </a:lnTo>
                    <a:lnTo>
                      <a:pt x="0" y="228"/>
                    </a:lnTo>
                    <a:lnTo>
                      <a:pt x="0" y="240"/>
                    </a:lnTo>
                    <a:lnTo>
                      <a:pt x="4" y="250"/>
                    </a:lnTo>
                    <a:lnTo>
                      <a:pt x="8" y="260"/>
                    </a:lnTo>
                    <a:lnTo>
                      <a:pt x="16" y="268"/>
                    </a:lnTo>
                    <a:lnTo>
                      <a:pt x="24" y="274"/>
                    </a:lnTo>
                    <a:lnTo>
                      <a:pt x="34" y="280"/>
                    </a:lnTo>
                    <a:lnTo>
                      <a:pt x="44" y="282"/>
                    </a:lnTo>
                    <a:lnTo>
                      <a:pt x="56" y="284"/>
                    </a:lnTo>
                    <a:lnTo>
                      <a:pt x="318" y="284"/>
                    </a:lnTo>
                    <a:lnTo>
                      <a:pt x="318" y="284"/>
                    </a:lnTo>
                    <a:lnTo>
                      <a:pt x="330" y="282"/>
                    </a:lnTo>
                    <a:lnTo>
                      <a:pt x="340" y="280"/>
                    </a:lnTo>
                    <a:lnTo>
                      <a:pt x="350" y="274"/>
                    </a:lnTo>
                    <a:lnTo>
                      <a:pt x="358" y="268"/>
                    </a:lnTo>
                    <a:lnTo>
                      <a:pt x="364" y="260"/>
                    </a:lnTo>
                    <a:lnTo>
                      <a:pt x="370" y="250"/>
                    </a:lnTo>
                    <a:lnTo>
                      <a:pt x="372" y="240"/>
                    </a:lnTo>
                    <a:lnTo>
                      <a:pt x="374" y="228"/>
                    </a:lnTo>
                    <a:lnTo>
                      <a:pt x="374" y="56"/>
                    </a:lnTo>
                    <a:lnTo>
                      <a:pt x="374" y="56"/>
                    </a:lnTo>
                    <a:lnTo>
                      <a:pt x="372" y="44"/>
                    </a:lnTo>
                    <a:lnTo>
                      <a:pt x="370" y="34"/>
                    </a:lnTo>
                    <a:lnTo>
                      <a:pt x="364" y="24"/>
                    </a:lnTo>
                    <a:lnTo>
                      <a:pt x="358" y="16"/>
                    </a:lnTo>
                    <a:lnTo>
                      <a:pt x="350" y="10"/>
                    </a:lnTo>
                    <a:lnTo>
                      <a:pt x="340" y="4"/>
                    </a:lnTo>
                    <a:lnTo>
                      <a:pt x="330" y="2"/>
                    </a:lnTo>
                    <a:lnTo>
                      <a:pt x="318" y="0"/>
                    </a:lnTo>
                    <a:lnTo>
                      <a:pt x="318" y="0"/>
                    </a:lnTo>
                    <a:close/>
                    <a:moveTo>
                      <a:pt x="132" y="204"/>
                    </a:moveTo>
                    <a:lnTo>
                      <a:pt x="132" y="80"/>
                    </a:lnTo>
                    <a:lnTo>
                      <a:pt x="240" y="142"/>
                    </a:lnTo>
                    <a:lnTo>
                      <a:pt x="132" y="204"/>
                    </a:lnTo>
                    <a:lnTo>
                      <a:pt x="13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4" name="Group 3">
              <a:extLst>
                <a:ext uri="{FF2B5EF4-FFF2-40B4-BE49-F238E27FC236}">
                  <a16:creationId xmlns:a16="http://schemas.microsoft.com/office/drawing/2014/main" id="{FD3C41CE-2842-2978-9E7B-D1E764D85F05}"/>
                </a:ext>
              </a:extLst>
            </p:cNvPr>
            <p:cNvGrpSpPr/>
            <p:nvPr/>
          </p:nvGrpSpPr>
          <p:grpSpPr>
            <a:xfrm>
              <a:off x="2077367" y="5206304"/>
              <a:ext cx="390295" cy="390295"/>
              <a:chOff x="7127875" y="2970213"/>
              <a:chExt cx="914400" cy="914400"/>
            </a:xfrm>
          </p:grpSpPr>
          <p:sp>
            <p:nvSpPr>
              <p:cNvPr id="21" name="Freeform 37">
                <a:extLst>
                  <a:ext uri="{FF2B5EF4-FFF2-40B4-BE49-F238E27FC236}">
                    <a16:creationId xmlns:a16="http://schemas.microsoft.com/office/drawing/2014/main" id="{5C3606F1-1EC3-EF3C-59A5-AAF9C3C839CD}"/>
                  </a:ext>
                </a:extLst>
              </p:cNvPr>
              <p:cNvSpPr>
                <a:spLocks/>
              </p:cNvSpPr>
              <p:nvPr/>
            </p:nvSpPr>
            <p:spPr bwMode="auto">
              <a:xfrm>
                <a:off x="7127875"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4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4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4" y="20"/>
                    </a:lnTo>
                    <a:lnTo>
                      <a:pt x="2" y="26"/>
                    </a:lnTo>
                    <a:lnTo>
                      <a:pt x="0" y="32"/>
                    </a:lnTo>
                    <a:lnTo>
                      <a:pt x="0" y="544"/>
                    </a:lnTo>
                    <a:lnTo>
                      <a:pt x="0" y="544"/>
                    </a:lnTo>
                    <a:lnTo>
                      <a:pt x="2" y="552"/>
                    </a:lnTo>
                    <a:lnTo>
                      <a:pt x="4" y="558"/>
                    </a:lnTo>
                    <a:lnTo>
                      <a:pt x="10" y="568"/>
                    </a:lnTo>
                    <a:lnTo>
                      <a:pt x="20" y="574"/>
                    </a:lnTo>
                    <a:lnTo>
                      <a:pt x="26" y="576"/>
                    </a:lnTo>
                    <a:lnTo>
                      <a:pt x="32" y="576"/>
                    </a:lnTo>
                    <a:lnTo>
                      <a:pt x="544" y="576"/>
                    </a:lnTo>
                    <a:lnTo>
                      <a:pt x="544" y="576"/>
                    </a:lnTo>
                    <a:close/>
                  </a:path>
                </a:pathLst>
              </a:custGeom>
              <a:solidFill>
                <a:srgbClr val="E52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23" name="Freeform 38">
                <a:extLst>
                  <a:ext uri="{FF2B5EF4-FFF2-40B4-BE49-F238E27FC236}">
                    <a16:creationId xmlns:a16="http://schemas.microsoft.com/office/drawing/2014/main" id="{27E0F125-BC0F-8E21-536F-717A88D72585}"/>
                  </a:ext>
                </a:extLst>
              </p:cNvPr>
              <p:cNvSpPr>
                <a:spLocks noEditPoints="1"/>
              </p:cNvSpPr>
              <p:nvPr/>
            </p:nvSpPr>
            <p:spPr bwMode="auto">
              <a:xfrm>
                <a:off x="7248525" y="3141663"/>
                <a:ext cx="679450" cy="552450"/>
              </a:xfrm>
              <a:custGeom>
                <a:avLst/>
                <a:gdLst>
                  <a:gd name="T0" fmla="*/ 298 w 428"/>
                  <a:gd name="T1" fmla="*/ 62 h 348"/>
                  <a:gd name="T2" fmla="*/ 348 w 428"/>
                  <a:gd name="T3" fmla="*/ 70 h 348"/>
                  <a:gd name="T4" fmla="*/ 370 w 428"/>
                  <a:gd name="T5" fmla="*/ 116 h 348"/>
                  <a:gd name="T6" fmla="*/ 354 w 428"/>
                  <a:gd name="T7" fmla="*/ 142 h 348"/>
                  <a:gd name="T8" fmla="*/ 340 w 428"/>
                  <a:gd name="T9" fmla="*/ 128 h 348"/>
                  <a:gd name="T10" fmla="*/ 334 w 428"/>
                  <a:gd name="T11" fmla="*/ 96 h 348"/>
                  <a:gd name="T12" fmla="*/ 306 w 428"/>
                  <a:gd name="T13" fmla="*/ 88 h 348"/>
                  <a:gd name="T14" fmla="*/ 292 w 428"/>
                  <a:gd name="T15" fmla="*/ 78 h 348"/>
                  <a:gd name="T16" fmla="*/ 280 w 428"/>
                  <a:gd name="T17" fmla="*/ 10 h 348"/>
                  <a:gd name="T18" fmla="*/ 332 w 428"/>
                  <a:gd name="T19" fmla="*/ 2 h 348"/>
                  <a:gd name="T20" fmla="*/ 400 w 428"/>
                  <a:gd name="T21" fmla="*/ 38 h 348"/>
                  <a:gd name="T22" fmla="*/ 428 w 428"/>
                  <a:gd name="T23" fmla="*/ 116 h 348"/>
                  <a:gd name="T24" fmla="*/ 416 w 428"/>
                  <a:gd name="T25" fmla="*/ 160 h 348"/>
                  <a:gd name="T26" fmla="*/ 392 w 428"/>
                  <a:gd name="T27" fmla="*/ 152 h 348"/>
                  <a:gd name="T28" fmla="*/ 396 w 428"/>
                  <a:gd name="T29" fmla="*/ 116 h 348"/>
                  <a:gd name="T30" fmla="*/ 374 w 428"/>
                  <a:gd name="T31" fmla="*/ 60 h 348"/>
                  <a:gd name="T32" fmla="*/ 328 w 428"/>
                  <a:gd name="T33" fmla="*/ 34 h 348"/>
                  <a:gd name="T34" fmla="*/ 290 w 428"/>
                  <a:gd name="T35" fmla="*/ 36 h 348"/>
                  <a:gd name="T36" fmla="*/ 166 w 428"/>
                  <a:gd name="T37" fmla="*/ 238 h 348"/>
                  <a:gd name="T38" fmla="*/ 178 w 428"/>
                  <a:gd name="T39" fmla="*/ 244 h 348"/>
                  <a:gd name="T40" fmla="*/ 182 w 428"/>
                  <a:gd name="T41" fmla="*/ 230 h 348"/>
                  <a:gd name="T42" fmla="*/ 168 w 428"/>
                  <a:gd name="T43" fmla="*/ 232 h 348"/>
                  <a:gd name="T44" fmla="*/ 128 w 428"/>
                  <a:gd name="T45" fmla="*/ 278 h 348"/>
                  <a:gd name="T46" fmla="*/ 160 w 428"/>
                  <a:gd name="T47" fmla="*/ 268 h 348"/>
                  <a:gd name="T48" fmla="*/ 160 w 428"/>
                  <a:gd name="T49" fmla="*/ 244 h 348"/>
                  <a:gd name="T50" fmla="*/ 126 w 428"/>
                  <a:gd name="T51" fmla="*/ 244 h 348"/>
                  <a:gd name="T52" fmla="*/ 118 w 428"/>
                  <a:gd name="T53" fmla="*/ 266 h 348"/>
                  <a:gd name="T54" fmla="*/ 100 w 428"/>
                  <a:gd name="T55" fmla="*/ 228 h 348"/>
                  <a:gd name="T56" fmla="*/ 152 w 428"/>
                  <a:gd name="T57" fmla="*/ 190 h 348"/>
                  <a:gd name="T58" fmla="*/ 210 w 428"/>
                  <a:gd name="T59" fmla="*/ 200 h 348"/>
                  <a:gd name="T60" fmla="*/ 230 w 428"/>
                  <a:gd name="T61" fmla="*/ 252 h 348"/>
                  <a:gd name="T62" fmla="*/ 188 w 428"/>
                  <a:gd name="T63" fmla="*/ 300 h 348"/>
                  <a:gd name="T64" fmla="*/ 122 w 428"/>
                  <a:gd name="T65" fmla="*/ 298 h 348"/>
                  <a:gd name="T66" fmla="*/ 44 w 428"/>
                  <a:gd name="T67" fmla="*/ 260 h 348"/>
                  <a:gd name="T68" fmla="*/ 102 w 428"/>
                  <a:gd name="T69" fmla="*/ 314 h 348"/>
                  <a:gd name="T70" fmla="*/ 206 w 428"/>
                  <a:gd name="T71" fmla="*/ 320 h 348"/>
                  <a:gd name="T72" fmla="*/ 298 w 428"/>
                  <a:gd name="T73" fmla="*/ 248 h 348"/>
                  <a:gd name="T74" fmla="*/ 292 w 428"/>
                  <a:gd name="T75" fmla="*/ 202 h 348"/>
                  <a:gd name="T76" fmla="*/ 204 w 428"/>
                  <a:gd name="T77" fmla="*/ 154 h 348"/>
                  <a:gd name="T78" fmla="*/ 114 w 428"/>
                  <a:gd name="T79" fmla="*/ 166 h 348"/>
                  <a:gd name="T80" fmla="*/ 56 w 428"/>
                  <a:gd name="T81" fmla="*/ 208 h 348"/>
                  <a:gd name="T82" fmla="*/ 42 w 428"/>
                  <a:gd name="T83" fmla="*/ 252 h 348"/>
                  <a:gd name="T84" fmla="*/ 24 w 428"/>
                  <a:gd name="T85" fmla="*/ 162 h 348"/>
                  <a:gd name="T86" fmla="*/ 124 w 428"/>
                  <a:gd name="T87" fmla="*/ 68 h 348"/>
                  <a:gd name="T88" fmla="*/ 194 w 428"/>
                  <a:gd name="T89" fmla="*/ 52 h 348"/>
                  <a:gd name="T90" fmla="*/ 214 w 428"/>
                  <a:gd name="T91" fmla="*/ 84 h 348"/>
                  <a:gd name="T92" fmla="*/ 210 w 428"/>
                  <a:gd name="T93" fmla="*/ 116 h 348"/>
                  <a:gd name="T94" fmla="*/ 278 w 428"/>
                  <a:gd name="T95" fmla="*/ 100 h 348"/>
                  <a:gd name="T96" fmla="*/ 318 w 428"/>
                  <a:gd name="T97" fmla="*/ 124 h 348"/>
                  <a:gd name="T98" fmla="*/ 314 w 428"/>
                  <a:gd name="T99" fmla="*/ 164 h 348"/>
                  <a:gd name="T100" fmla="*/ 342 w 428"/>
                  <a:gd name="T101" fmla="*/ 176 h 348"/>
                  <a:gd name="T102" fmla="*/ 374 w 428"/>
                  <a:gd name="T103" fmla="*/ 228 h 348"/>
                  <a:gd name="T104" fmla="*/ 352 w 428"/>
                  <a:gd name="T105" fmla="*/ 280 h 348"/>
                  <a:gd name="T106" fmla="*/ 258 w 428"/>
                  <a:gd name="T107" fmla="*/ 338 h 348"/>
                  <a:gd name="T108" fmla="*/ 156 w 428"/>
                  <a:gd name="T109" fmla="*/ 348 h 348"/>
                  <a:gd name="T110" fmla="*/ 40 w 428"/>
                  <a:gd name="T111" fmla="*/ 308 h 348"/>
                  <a:gd name="T112" fmla="*/ 0 w 428"/>
                  <a:gd name="T113" fmla="*/ 23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348">
                    <a:moveTo>
                      <a:pt x="292" y="78"/>
                    </a:moveTo>
                    <a:lnTo>
                      <a:pt x="292" y="78"/>
                    </a:lnTo>
                    <a:lnTo>
                      <a:pt x="292" y="74"/>
                    </a:lnTo>
                    <a:lnTo>
                      <a:pt x="292" y="74"/>
                    </a:lnTo>
                    <a:lnTo>
                      <a:pt x="294" y="66"/>
                    </a:lnTo>
                    <a:lnTo>
                      <a:pt x="294" y="66"/>
                    </a:lnTo>
                    <a:lnTo>
                      <a:pt x="298" y="62"/>
                    </a:lnTo>
                    <a:lnTo>
                      <a:pt x="304" y="60"/>
                    </a:lnTo>
                    <a:lnTo>
                      <a:pt x="304" y="60"/>
                    </a:lnTo>
                    <a:lnTo>
                      <a:pt x="316" y="60"/>
                    </a:lnTo>
                    <a:lnTo>
                      <a:pt x="316" y="60"/>
                    </a:lnTo>
                    <a:lnTo>
                      <a:pt x="328" y="60"/>
                    </a:lnTo>
                    <a:lnTo>
                      <a:pt x="338" y="64"/>
                    </a:lnTo>
                    <a:lnTo>
                      <a:pt x="348" y="70"/>
                    </a:lnTo>
                    <a:lnTo>
                      <a:pt x="356" y="78"/>
                    </a:lnTo>
                    <a:lnTo>
                      <a:pt x="356" y="78"/>
                    </a:lnTo>
                    <a:lnTo>
                      <a:pt x="364" y="90"/>
                    </a:lnTo>
                    <a:lnTo>
                      <a:pt x="370" y="104"/>
                    </a:lnTo>
                    <a:lnTo>
                      <a:pt x="370" y="104"/>
                    </a:lnTo>
                    <a:lnTo>
                      <a:pt x="370" y="116"/>
                    </a:lnTo>
                    <a:lnTo>
                      <a:pt x="370" y="116"/>
                    </a:lnTo>
                    <a:lnTo>
                      <a:pt x="370" y="124"/>
                    </a:lnTo>
                    <a:lnTo>
                      <a:pt x="368" y="132"/>
                    </a:lnTo>
                    <a:lnTo>
                      <a:pt x="368" y="132"/>
                    </a:lnTo>
                    <a:lnTo>
                      <a:pt x="364" y="136"/>
                    </a:lnTo>
                    <a:lnTo>
                      <a:pt x="360" y="140"/>
                    </a:lnTo>
                    <a:lnTo>
                      <a:pt x="360" y="140"/>
                    </a:lnTo>
                    <a:lnTo>
                      <a:pt x="354" y="142"/>
                    </a:lnTo>
                    <a:lnTo>
                      <a:pt x="354" y="142"/>
                    </a:lnTo>
                    <a:lnTo>
                      <a:pt x="350" y="140"/>
                    </a:lnTo>
                    <a:lnTo>
                      <a:pt x="350" y="140"/>
                    </a:lnTo>
                    <a:lnTo>
                      <a:pt x="344" y="138"/>
                    </a:lnTo>
                    <a:lnTo>
                      <a:pt x="342" y="134"/>
                    </a:lnTo>
                    <a:lnTo>
                      <a:pt x="342" y="134"/>
                    </a:lnTo>
                    <a:lnTo>
                      <a:pt x="340" y="128"/>
                    </a:lnTo>
                    <a:lnTo>
                      <a:pt x="340" y="128"/>
                    </a:lnTo>
                    <a:lnTo>
                      <a:pt x="340" y="124"/>
                    </a:lnTo>
                    <a:lnTo>
                      <a:pt x="340" y="124"/>
                    </a:lnTo>
                    <a:lnTo>
                      <a:pt x="342" y="114"/>
                    </a:lnTo>
                    <a:lnTo>
                      <a:pt x="342" y="114"/>
                    </a:lnTo>
                    <a:lnTo>
                      <a:pt x="340" y="104"/>
                    </a:lnTo>
                    <a:lnTo>
                      <a:pt x="334" y="96"/>
                    </a:lnTo>
                    <a:lnTo>
                      <a:pt x="334" y="96"/>
                    </a:lnTo>
                    <a:lnTo>
                      <a:pt x="326" y="90"/>
                    </a:lnTo>
                    <a:lnTo>
                      <a:pt x="316" y="88"/>
                    </a:lnTo>
                    <a:lnTo>
                      <a:pt x="316" y="88"/>
                    </a:lnTo>
                    <a:lnTo>
                      <a:pt x="310" y="88"/>
                    </a:lnTo>
                    <a:lnTo>
                      <a:pt x="310" y="88"/>
                    </a:lnTo>
                    <a:lnTo>
                      <a:pt x="306" y="88"/>
                    </a:lnTo>
                    <a:lnTo>
                      <a:pt x="306" y="88"/>
                    </a:lnTo>
                    <a:lnTo>
                      <a:pt x="302" y="88"/>
                    </a:lnTo>
                    <a:lnTo>
                      <a:pt x="298" y="86"/>
                    </a:lnTo>
                    <a:lnTo>
                      <a:pt x="298" y="86"/>
                    </a:lnTo>
                    <a:lnTo>
                      <a:pt x="294" y="82"/>
                    </a:lnTo>
                    <a:lnTo>
                      <a:pt x="292" y="78"/>
                    </a:lnTo>
                    <a:lnTo>
                      <a:pt x="292" y="78"/>
                    </a:lnTo>
                    <a:close/>
                    <a:moveTo>
                      <a:pt x="278" y="22"/>
                    </a:moveTo>
                    <a:lnTo>
                      <a:pt x="278" y="22"/>
                    </a:lnTo>
                    <a:lnTo>
                      <a:pt x="278" y="20"/>
                    </a:lnTo>
                    <a:lnTo>
                      <a:pt x="278" y="20"/>
                    </a:lnTo>
                    <a:lnTo>
                      <a:pt x="278" y="14"/>
                    </a:lnTo>
                    <a:lnTo>
                      <a:pt x="280" y="10"/>
                    </a:lnTo>
                    <a:lnTo>
                      <a:pt x="280" y="10"/>
                    </a:lnTo>
                    <a:lnTo>
                      <a:pt x="286" y="6"/>
                    </a:lnTo>
                    <a:lnTo>
                      <a:pt x="292" y="4"/>
                    </a:lnTo>
                    <a:lnTo>
                      <a:pt x="292" y="4"/>
                    </a:lnTo>
                    <a:lnTo>
                      <a:pt x="302" y="2"/>
                    </a:lnTo>
                    <a:lnTo>
                      <a:pt x="314" y="0"/>
                    </a:lnTo>
                    <a:lnTo>
                      <a:pt x="314" y="0"/>
                    </a:lnTo>
                    <a:lnTo>
                      <a:pt x="332" y="2"/>
                    </a:lnTo>
                    <a:lnTo>
                      <a:pt x="350" y="6"/>
                    </a:lnTo>
                    <a:lnTo>
                      <a:pt x="350" y="6"/>
                    </a:lnTo>
                    <a:lnTo>
                      <a:pt x="364" y="12"/>
                    </a:lnTo>
                    <a:lnTo>
                      <a:pt x="376" y="18"/>
                    </a:lnTo>
                    <a:lnTo>
                      <a:pt x="388" y="28"/>
                    </a:lnTo>
                    <a:lnTo>
                      <a:pt x="400" y="38"/>
                    </a:lnTo>
                    <a:lnTo>
                      <a:pt x="400" y="38"/>
                    </a:lnTo>
                    <a:lnTo>
                      <a:pt x="408" y="50"/>
                    </a:lnTo>
                    <a:lnTo>
                      <a:pt x="416" y="64"/>
                    </a:lnTo>
                    <a:lnTo>
                      <a:pt x="422" y="78"/>
                    </a:lnTo>
                    <a:lnTo>
                      <a:pt x="426" y="92"/>
                    </a:lnTo>
                    <a:lnTo>
                      <a:pt x="426" y="92"/>
                    </a:lnTo>
                    <a:lnTo>
                      <a:pt x="428" y="116"/>
                    </a:lnTo>
                    <a:lnTo>
                      <a:pt x="428" y="116"/>
                    </a:lnTo>
                    <a:lnTo>
                      <a:pt x="428" y="132"/>
                    </a:lnTo>
                    <a:lnTo>
                      <a:pt x="424" y="150"/>
                    </a:lnTo>
                    <a:lnTo>
                      <a:pt x="424" y="150"/>
                    </a:lnTo>
                    <a:lnTo>
                      <a:pt x="424" y="150"/>
                    </a:lnTo>
                    <a:lnTo>
                      <a:pt x="420" y="156"/>
                    </a:lnTo>
                    <a:lnTo>
                      <a:pt x="416" y="160"/>
                    </a:lnTo>
                    <a:lnTo>
                      <a:pt x="416" y="160"/>
                    </a:lnTo>
                    <a:lnTo>
                      <a:pt x="408" y="160"/>
                    </a:lnTo>
                    <a:lnTo>
                      <a:pt x="408" y="160"/>
                    </a:lnTo>
                    <a:lnTo>
                      <a:pt x="402" y="160"/>
                    </a:lnTo>
                    <a:lnTo>
                      <a:pt x="402" y="160"/>
                    </a:lnTo>
                    <a:lnTo>
                      <a:pt x="396" y="158"/>
                    </a:lnTo>
                    <a:lnTo>
                      <a:pt x="392" y="152"/>
                    </a:lnTo>
                    <a:lnTo>
                      <a:pt x="392" y="152"/>
                    </a:lnTo>
                    <a:lnTo>
                      <a:pt x="392" y="144"/>
                    </a:lnTo>
                    <a:lnTo>
                      <a:pt x="392" y="144"/>
                    </a:lnTo>
                    <a:lnTo>
                      <a:pt x="392" y="140"/>
                    </a:lnTo>
                    <a:lnTo>
                      <a:pt x="392" y="140"/>
                    </a:lnTo>
                    <a:lnTo>
                      <a:pt x="392" y="140"/>
                    </a:lnTo>
                    <a:lnTo>
                      <a:pt x="394" y="128"/>
                    </a:lnTo>
                    <a:lnTo>
                      <a:pt x="396" y="116"/>
                    </a:lnTo>
                    <a:lnTo>
                      <a:pt x="396" y="116"/>
                    </a:lnTo>
                    <a:lnTo>
                      <a:pt x="394" y="98"/>
                    </a:lnTo>
                    <a:lnTo>
                      <a:pt x="394" y="98"/>
                    </a:lnTo>
                    <a:lnTo>
                      <a:pt x="392" y="88"/>
                    </a:lnTo>
                    <a:lnTo>
                      <a:pt x="388" y="78"/>
                    </a:lnTo>
                    <a:lnTo>
                      <a:pt x="382" y="68"/>
                    </a:lnTo>
                    <a:lnTo>
                      <a:pt x="374" y="60"/>
                    </a:lnTo>
                    <a:lnTo>
                      <a:pt x="374" y="60"/>
                    </a:lnTo>
                    <a:lnTo>
                      <a:pt x="368" y="52"/>
                    </a:lnTo>
                    <a:lnTo>
                      <a:pt x="358" y="46"/>
                    </a:lnTo>
                    <a:lnTo>
                      <a:pt x="350" y="42"/>
                    </a:lnTo>
                    <a:lnTo>
                      <a:pt x="340" y="38"/>
                    </a:lnTo>
                    <a:lnTo>
                      <a:pt x="340" y="38"/>
                    </a:lnTo>
                    <a:lnTo>
                      <a:pt x="328" y="34"/>
                    </a:lnTo>
                    <a:lnTo>
                      <a:pt x="316" y="34"/>
                    </a:lnTo>
                    <a:lnTo>
                      <a:pt x="316" y="34"/>
                    </a:lnTo>
                    <a:lnTo>
                      <a:pt x="298" y="36"/>
                    </a:lnTo>
                    <a:lnTo>
                      <a:pt x="298" y="36"/>
                    </a:lnTo>
                    <a:lnTo>
                      <a:pt x="294" y="36"/>
                    </a:lnTo>
                    <a:lnTo>
                      <a:pt x="294" y="36"/>
                    </a:lnTo>
                    <a:lnTo>
                      <a:pt x="290" y="36"/>
                    </a:lnTo>
                    <a:lnTo>
                      <a:pt x="286" y="34"/>
                    </a:lnTo>
                    <a:lnTo>
                      <a:pt x="286" y="34"/>
                    </a:lnTo>
                    <a:lnTo>
                      <a:pt x="280" y="28"/>
                    </a:lnTo>
                    <a:lnTo>
                      <a:pt x="278" y="22"/>
                    </a:lnTo>
                    <a:lnTo>
                      <a:pt x="278" y="22"/>
                    </a:lnTo>
                    <a:close/>
                    <a:moveTo>
                      <a:pt x="166" y="238"/>
                    </a:moveTo>
                    <a:lnTo>
                      <a:pt x="166" y="238"/>
                    </a:lnTo>
                    <a:lnTo>
                      <a:pt x="168" y="242"/>
                    </a:lnTo>
                    <a:lnTo>
                      <a:pt x="172" y="244"/>
                    </a:lnTo>
                    <a:lnTo>
                      <a:pt x="172" y="244"/>
                    </a:lnTo>
                    <a:lnTo>
                      <a:pt x="174" y="244"/>
                    </a:lnTo>
                    <a:lnTo>
                      <a:pt x="174" y="244"/>
                    </a:lnTo>
                    <a:lnTo>
                      <a:pt x="178" y="244"/>
                    </a:lnTo>
                    <a:lnTo>
                      <a:pt x="178" y="244"/>
                    </a:lnTo>
                    <a:lnTo>
                      <a:pt x="182" y="242"/>
                    </a:lnTo>
                    <a:lnTo>
                      <a:pt x="184" y="238"/>
                    </a:lnTo>
                    <a:lnTo>
                      <a:pt x="184" y="238"/>
                    </a:lnTo>
                    <a:lnTo>
                      <a:pt x="184" y="236"/>
                    </a:lnTo>
                    <a:lnTo>
                      <a:pt x="184" y="232"/>
                    </a:lnTo>
                    <a:lnTo>
                      <a:pt x="184" y="232"/>
                    </a:lnTo>
                    <a:lnTo>
                      <a:pt x="182" y="230"/>
                    </a:lnTo>
                    <a:lnTo>
                      <a:pt x="180" y="228"/>
                    </a:lnTo>
                    <a:lnTo>
                      <a:pt x="180" y="228"/>
                    </a:lnTo>
                    <a:lnTo>
                      <a:pt x="174" y="228"/>
                    </a:lnTo>
                    <a:lnTo>
                      <a:pt x="174" y="228"/>
                    </a:lnTo>
                    <a:lnTo>
                      <a:pt x="170" y="230"/>
                    </a:lnTo>
                    <a:lnTo>
                      <a:pt x="168" y="232"/>
                    </a:lnTo>
                    <a:lnTo>
                      <a:pt x="168" y="232"/>
                    </a:lnTo>
                    <a:lnTo>
                      <a:pt x="166" y="236"/>
                    </a:lnTo>
                    <a:lnTo>
                      <a:pt x="166" y="238"/>
                    </a:lnTo>
                    <a:lnTo>
                      <a:pt x="166" y="238"/>
                    </a:lnTo>
                    <a:close/>
                    <a:moveTo>
                      <a:pt x="118" y="266"/>
                    </a:moveTo>
                    <a:lnTo>
                      <a:pt x="118" y="266"/>
                    </a:lnTo>
                    <a:lnTo>
                      <a:pt x="122" y="274"/>
                    </a:lnTo>
                    <a:lnTo>
                      <a:pt x="128" y="278"/>
                    </a:lnTo>
                    <a:lnTo>
                      <a:pt x="128" y="278"/>
                    </a:lnTo>
                    <a:lnTo>
                      <a:pt x="138" y="280"/>
                    </a:lnTo>
                    <a:lnTo>
                      <a:pt x="138" y="280"/>
                    </a:lnTo>
                    <a:lnTo>
                      <a:pt x="146" y="280"/>
                    </a:lnTo>
                    <a:lnTo>
                      <a:pt x="146" y="280"/>
                    </a:lnTo>
                    <a:lnTo>
                      <a:pt x="154" y="274"/>
                    </a:lnTo>
                    <a:lnTo>
                      <a:pt x="160" y="268"/>
                    </a:lnTo>
                    <a:lnTo>
                      <a:pt x="160" y="268"/>
                    </a:lnTo>
                    <a:lnTo>
                      <a:pt x="164" y="262"/>
                    </a:lnTo>
                    <a:lnTo>
                      <a:pt x="164" y="256"/>
                    </a:lnTo>
                    <a:lnTo>
                      <a:pt x="164" y="256"/>
                    </a:lnTo>
                    <a:lnTo>
                      <a:pt x="164" y="252"/>
                    </a:lnTo>
                    <a:lnTo>
                      <a:pt x="164" y="252"/>
                    </a:lnTo>
                    <a:lnTo>
                      <a:pt x="160" y="244"/>
                    </a:lnTo>
                    <a:lnTo>
                      <a:pt x="152" y="240"/>
                    </a:lnTo>
                    <a:lnTo>
                      <a:pt x="152" y="240"/>
                    </a:lnTo>
                    <a:lnTo>
                      <a:pt x="144" y="238"/>
                    </a:lnTo>
                    <a:lnTo>
                      <a:pt x="144" y="238"/>
                    </a:lnTo>
                    <a:lnTo>
                      <a:pt x="136" y="240"/>
                    </a:lnTo>
                    <a:lnTo>
                      <a:pt x="136" y="240"/>
                    </a:lnTo>
                    <a:lnTo>
                      <a:pt x="126" y="244"/>
                    </a:lnTo>
                    <a:lnTo>
                      <a:pt x="120" y="250"/>
                    </a:lnTo>
                    <a:lnTo>
                      <a:pt x="120" y="250"/>
                    </a:lnTo>
                    <a:lnTo>
                      <a:pt x="118" y="256"/>
                    </a:lnTo>
                    <a:lnTo>
                      <a:pt x="118" y="262"/>
                    </a:lnTo>
                    <a:lnTo>
                      <a:pt x="118" y="262"/>
                    </a:lnTo>
                    <a:lnTo>
                      <a:pt x="118" y="266"/>
                    </a:lnTo>
                    <a:lnTo>
                      <a:pt x="118" y="266"/>
                    </a:lnTo>
                    <a:close/>
                    <a:moveTo>
                      <a:pt x="98" y="274"/>
                    </a:moveTo>
                    <a:lnTo>
                      <a:pt x="98" y="274"/>
                    </a:lnTo>
                    <a:lnTo>
                      <a:pt x="94" y="262"/>
                    </a:lnTo>
                    <a:lnTo>
                      <a:pt x="94" y="252"/>
                    </a:lnTo>
                    <a:lnTo>
                      <a:pt x="94" y="252"/>
                    </a:lnTo>
                    <a:lnTo>
                      <a:pt x="96" y="240"/>
                    </a:lnTo>
                    <a:lnTo>
                      <a:pt x="100" y="228"/>
                    </a:lnTo>
                    <a:lnTo>
                      <a:pt x="100" y="228"/>
                    </a:lnTo>
                    <a:lnTo>
                      <a:pt x="106" y="218"/>
                    </a:lnTo>
                    <a:lnTo>
                      <a:pt x="114" y="208"/>
                    </a:lnTo>
                    <a:lnTo>
                      <a:pt x="124" y="200"/>
                    </a:lnTo>
                    <a:lnTo>
                      <a:pt x="136" y="194"/>
                    </a:lnTo>
                    <a:lnTo>
                      <a:pt x="136" y="194"/>
                    </a:lnTo>
                    <a:lnTo>
                      <a:pt x="152" y="190"/>
                    </a:lnTo>
                    <a:lnTo>
                      <a:pt x="168" y="188"/>
                    </a:lnTo>
                    <a:lnTo>
                      <a:pt x="168" y="188"/>
                    </a:lnTo>
                    <a:lnTo>
                      <a:pt x="178" y="188"/>
                    </a:lnTo>
                    <a:lnTo>
                      <a:pt x="186" y="190"/>
                    </a:lnTo>
                    <a:lnTo>
                      <a:pt x="186" y="190"/>
                    </a:lnTo>
                    <a:lnTo>
                      <a:pt x="198" y="194"/>
                    </a:lnTo>
                    <a:lnTo>
                      <a:pt x="210" y="200"/>
                    </a:lnTo>
                    <a:lnTo>
                      <a:pt x="218" y="208"/>
                    </a:lnTo>
                    <a:lnTo>
                      <a:pt x="224" y="218"/>
                    </a:lnTo>
                    <a:lnTo>
                      <a:pt x="224" y="218"/>
                    </a:lnTo>
                    <a:lnTo>
                      <a:pt x="228" y="230"/>
                    </a:lnTo>
                    <a:lnTo>
                      <a:pt x="230" y="242"/>
                    </a:lnTo>
                    <a:lnTo>
                      <a:pt x="230" y="242"/>
                    </a:lnTo>
                    <a:lnTo>
                      <a:pt x="230" y="252"/>
                    </a:lnTo>
                    <a:lnTo>
                      <a:pt x="226" y="264"/>
                    </a:lnTo>
                    <a:lnTo>
                      <a:pt x="226" y="264"/>
                    </a:lnTo>
                    <a:lnTo>
                      <a:pt x="218" y="276"/>
                    </a:lnTo>
                    <a:lnTo>
                      <a:pt x="210" y="286"/>
                    </a:lnTo>
                    <a:lnTo>
                      <a:pt x="200" y="294"/>
                    </a:lnTo>
                    <a:lnTo>
                      <a:pt x="188" y="300"/>
                    </a:lnTo>
                    <a:lnTo>
                      <a:pt x="188" y="300"/>
                    </a:lnTo>
                    <a:lnTo>
                      <a:pt x="172" y="306"/>
                    </a:lnTo>
                    <a:lnTo>
                      <a:pt x="156" y="308"/>
                    </a:lnTo>
                    <a:lnTo>
                      <a:pt x="156" y="308"/>
                    </a:lnTo>
                    <a:lnTo>
                      <a:pt x="144" y="306"/>
                    </a:lnTo>
                    <a:lnTo>
                      <a:pt x="134" y="304"/>
                    </a:lnTo>
                    <a:lnTo>
                      <a:pt x="134" y="304"/>
                    </a:lnTo>
                    <a:lnTo>
                      <a:pt x="122" y="298"/>
                    </a:lnTo>
                    <a:lnTo>
                      <a:pt x="112" y="292"/>
                    </a:lnTo>
                    <a:lnTo>
                      <a:pt x="104" y="284"/>
                    </a:lnTo>
                    <a:lnTo>
                      <a:pt x="98" y="274"/>
                    </a:lnTo>
                    <a:lnTo>
                      <a:pt x="98" y="274"/>
                    </a:lnTo>
                    <a:close/>
                    <a:moveTo>
                      <a:pt x="42" y="252"/>
                    </a:moveTo>
                    <a:lnTo>
                      <a:pt x="42" y="252"/>
                    </a:lnTo>
                    <a:lnTo>
                      <a:pt x="44" y="260"/>
                    </a:lnTo>
                    <a:lnTo>
                      <a:pt x="46" y="268"/>
                    </a:lnTo>
                    <a:lnTo>
                      <a:pt x="50" y="276"/>
                    </a:lnTo>
                    <a:lnTo>
                      <a:pt x="56" y="284"/>
                    </a:lnTo>
                    <a:lnTo>
                      <a:pt x="68" y="296"/>
                    </a:lnTo>
                    <a:lnTo>
                      <a:pt x="86" y="308"/>
                    </a:lnTo>
                    <a:lnTo>
                      <a:pt x="86" y="308"/>
                    </a:lnTo>
                    <a:lnTo>
                      <a:pt x="102" y="314"/>
                    </a:lnTo>
                    <a:lnTo>
                      <a:pt x="120" y="320"/>
                    </a:lnTo>
                    <a:lnTo>
                      <a:pt x="138" y="324"/>
                    </a:lnTo>
                    <a:lnTo>
                      <a:pt x="158" y="324"/>
                    </a:lnTo>
                    <a:lnTo>
                      <a:pt x="158" y="324"/>
                    </a:lnTo>
                    <a:lnTo>
                      <a:pt x="180" y="324"/>
                    </a:lnTo>
                    <a:lnTo>
                      <a:pt x="180" y="324"/>
                    </a:lnTo>
                    <a:lnTo>
                      <a:pt x="206" y="320"/>
                    </a:lnTo>
                    <a:lnTo>
                      <a:pt x="228" y="312"/>
                    </a:lnTo>
                    <a:lnTo>
                      <a:pt x="250" y="302"/>
                    </a:lnTo>
                    <a:lnTo>
                      <a:pt x="268" y="290"/>
                    </a:lnTo>
                    <a:lnTo>
                      <a:pt x="268" y="290"/>
                    </a:lnTo>
                    <a:lnTo>
                      <a:pt x="282" y="276"/>
                    </a:lnTo>
                    <a:lnTo>
                      <a:pt x="292" y="262"/>
                    </a:lnTo>
                    <a:lnTo>
                      <a:pt x="298" y="248"/>
                    </a:lnTo>
                    <a:lnTo>
                      <a:pt x="300" y="232"/>
                    </a:lnTo>
                    <a:lnTo>
                      <a:pt x="300" y="232"/>
                    </a:lnTo>
                    <a:lnTo>
                      <a:pt x="300" y="226"/>
                    </a:lnTo>
                    <a:lnTo>
                      <a:pt x="300" y="226"/>
                    </a:lnTo>
                    <a:lnTo>
                      <a:pt x="298" y="218"/>
                    </a:lnTo>
                    <a:lnTo>
                      <a:pt x="296" y="210"/>
                    </a:lnTo>
                    <a:lnTo>
                      <a:pt x="292" y="202"/>
                    </a:lnTo>
                    <a:lnTo>
                      <a:pt x="288" y="194"/>
                    </a:lnTo>
                    <a:lnTo>
                      <a:pt x="274" y="182"/>
                    </a:lnTo>
                    <a:lnTo>
                      <a:pt x="256" y="170"/>
                    </a:lnTo>
                    <a:lnTo>
                      <a:pt x="256" y="170"/>
                    </a:lnTo>
                    <a:lnTo>
                      <a:pt x="240" y="162"/>
                    </a:lnTo>
                    <a:lnTo>
                      <a:pt x="222" y="158"/>
                    </a:lnTo>
                    <a:lnTo>
                      <a:pt x="204" y="154"/>
                    </a:lnTo>
                    <a:lnTo>
                      <a:pt x="184" y="154"/>
                    </a:lnTo>
                    <a:lnTo>
                      <a:pt x="184" y="154"/>
                    </a:lnTo>
                    <a:lnTo>
                      <a:pt x="162" y="154"/>
                    </a:lnTo>
                    <a:lnTo>
                      <a:pt x="162" y="154"/>
                    </a:lnTo>
                    <a:lnTo>
                      <a:pt x="146" y="156"/>
                    </a:lnTo>
                    <a:lnTo>
                      <a:pt x="130" y="160"/>
                    </a:lnTo>
                    <a:lnTo>
                      <a:pt x="114" y="166"/>
                    </a:lnTo>
                    <a:lnTo>
                      <a:pt x="100" y="172"/>
                    </a:lnTo>
                    <a:lnTo>
                      <a:pt x="100" y="172"/>
                    </a:lnTo>
                    <a:lnTo>
                      <a:pt x="86" y="180"/>
                    </a:lnTo>
                    <a:lnTo>
                      <a:pt x="74" y="188"/>
                    </a:lnTo>
                    <a:lnTo>
                      <a:pt x="64" y="198"/>
                    </a:lnTo>
                    <a:lnTo>
                      <a:pt x="56" y="208"/>
                    </a:lnTo>
                    <a:lnTo>
                      <a:pt x="56" y="208"/>
                    </a:lnTo>
                    <a:lnTo>
                      <a:pt x="50" y="216"/>
                    </a:lnTo>
                    <a:lnTo>
                      <a:pt x="46" y="226"/>
                    </a:lnTo>
                    <a:lnTo>
                      <a:pt x="44" y="236"/>
                    </a:lnTo>
                    <a:lnTo>
                      <a:pt x="42" y="246"/>
                    </a:lnTo>
                    <a:lnTo>
                      <a:pt x="42" y="246"/>
                    </a:lnTo>
                    <a:lnTo>
                      <a:pt x="42" y="252"/>
                    </a:lnTo>
                    <a:lnTo>
                      <a:pt x="42" y="252"/>
                    </a:lnTo>
                    <a:close/>
                    <a:moveTo>
                      <a:pt x="0" y="234"/>
                    </a:moveTo>
                    <a:lnTo>
                      <a:pt x="0" y="234"/>
                    </a:lnTo>
                    <a:lnTo>
                      <a:pt x="0" y="220"/>
                    </a:lnTo>
                    <a:lnTo>
                      <a:pt x="4" y="206"/>
                    </a:lnTo>
                    <a:lnTo>
                      <a:pt x="8" y="192"/>
                    </a:lnTo>
                    <a:lnTo>
                      <a:pt x="16" y="176"/>
                    </a:lnTo>
                    <a:lnTo>
                      <a:pt x="24" y="162"/>
                    </a:lnTo>
                    <a:lnTo>
                      <a:pt x="36" y="146"/>
                    </a:lnTo>
                    <a:lnTo>
                      <a:pt x="48" y="130"/>
                    </a:lnTo>
                    <a:lnTo>
                      <a:pt x="64" y="114"/>
                    </a:lnTo>
                    <a:lnTo>
                      <a:pt x="64" y="114"/>
                    </a:lnTo>
                    <a:lnTo>
                      <a:pt x="84" y="96"/>
                    </a:lnTo>
                    <a:lnTo>
                      <a:pt x="104" y="80"/>
                    </a:lnTo>
                    <a:lnTo>
                      <a:pt x="124" y="68"/>
                    </a:lnTo>
                    <a:lnTo>
                      <a:pt x="146" y="58"/>
                    </a:lnTo>
                    <a:lnTo>
                      <a:pt x="146" y="58"/>
                    </a:lnTo>
                    <a:lnTo>
                      <a:pt x="164" y="52"/>
                    </a:lnTo>
                    <a:lnTo>
                      <a:pt x="178" y="50"/>
                    </a:lnTo>
                    <a:lnTo>
                      <a:pt x="178" y="50"/>
                    </a:lnTo>
                    <a:lnTo>
                      <a:pt x="186" y="50"/>
                    </a:lnTo>
                    <a:lnTo>
                      <a:pt x="194" y="52"/>
                    </a:lnTo>
                    <a:lnTo>
                      <a:pt x="198" y="54"/>
                    </a:lnTo>
                    <a:lnTo>
                      <a:pt x="204" y="60"/>
                    </a:lnTo>
                    <a:lnTo>
                      <a:pt x="204" y="60"/>
                    </a:lnTo>
                    <a:lnTo>
                      <a:pt x="208" y="64"/>
                    </a:lnTo>
                    <a:lnTo>
                      <a:pt x="210" y="70"/>
                    </a:lnTo>
                    <a:lnTo>
                      <a:pt x="212" y="76"/>
                    </a:lnTo>
                    <a:lnTo>
                      <a:pt x="214" y="84"/>
                    </a:lnTo>
                    <a:lnTo>
                      <a:pt x="214" y="84"/>
                    </a:lnTo>
                    <a:lnTo>
                      <a:pt x="212" y="96"/>
                    </a:lnTo>
                    <a:lnTo>
                      <a:pt x="208" y="110"/>
                    </a:lnTo>
                    <a:lnTo>
                      <a:pt x="208" y="110"/>
                    </a:lnTo>
                    <a:lnTo>
                      <a:pt x="208" y="114"/>
                    </a:lnTo>
                    <a:lnTo>
                      <a:pt x="210" y="116"/>
                    </a:lnTo>
                    <a:lnTo>
                      <a:pt x="210" y="116"/>
                    </a:lnTo>
                    <a:lnTo>
                      <a:pt x="216" y="116"/>
                    </a:lnTo>
                    <a:lnTo>
                      <a:pt x="218" y="114"/>
                    </a:lnTo>
                    <a:lnTo>
                      <a:pt x="218" y="114"/>
                    </a:lnTo>
                    <a:lnTo>
                      <a:pt x="236" y="108"/>
                    </a:lnTo>
                    <a:lnTo>
                      <a:pt x="250" y="104"/>
                    </a:lnTo>
                    <a:lnTo>
                      <a:pt x="264" y="100"/>
                    </a:lnTo>
                    <a:lnTo>
                      <a:pt x="278" y="100"/>
                    </a:lnTo>
                    <a:lnTo>
                      <a:pt x="278" y="100"/>
                    </a:lnTo>
                    <a:lnTo>
                      <a:pt x="290" y="102"/>
                    </a:lnTo>
                    <a:lnTo>
                      <a:pt x="300" y="104"/>
                    </a:lnTo>
                    <a:lnTo>
                      <a:pt x="308" y="108"/>
                    </a:lnTo>
                    <a:lnTo>
                      <a:pt x="316" y="114"/>
                    </a:lnTo>
                    <a:lnTo>
                      <a:pt x="316" y="114"/>
                    </a:lnTo>
                    <a:lnTo>
                      <a:pt x="318" y="124"/>
                    </a:lnTo>
                    <a:lnTo>
                      <a:pt x="320" y="132"/>
                    </a:lnTo>
                    <a:lnTo>
                      <a:pt x="320" y="132"/>
                    </a:lnTo>
                    <a:lnTo>
                      <a:pt x="318" y="144"/>
                    </a:lnTo>
                    <a:lnTo>
                      <a:pt x="314" y="158"/>
                    </a:lnTo>
                    <a:lnTo>
                      <a:pt x="314" y="158"/>
                    </a:lnTo>
                    <a:lnTo>
                      <a:pt x="314" y="160"/>
                    </a:lnTo>
                    <a:lnTo>
                      <a:pt x="314" y="164"/>
                    </a:lnTo>
                    <a:lnTo>
                      <a:pt x="314" y="164"/>
                    </a:lnTo>
                    <a:lnTo>
                      <a:pt x="316" y="166"/>
                    </a:lnTo>
                    <a:lnTo>
                      <a:pt x="316" y="166"/>
                    </a:lnTo>
                    <a:lnTo>
                      <a:pt x="322" y="168"/>
                    </a:lnTo>
                    <a:lnTo>
                      <a:pt x="322" y="168"/>
                    </a:lnTo>
                    <a:lnTo>
                      <a:pt x="332" y="172"/>
                    </a:lnTo>
                    <a:lnTo>
                      <a:pt x="342" y="176"/>
                    </a:lnTo>
                    <a:lnTo>
                      <a:pt x="350" y="182"/>
                    </a:lnTo>
                    <a:lnTo>
                      <a:pt x="358" y="190"/>
                    </a:lnTo>
                    <a:lnTo>
                      <a:pt x="358" y="190"/>
                    </a:lnTo>
                    <a:lnTo>
                      <a:pt x="366" y="198"/>
                    </a:lnTo>
                    <a:lnTo>
                      <a:pt x="370" y="206"/>
                    </a:lnTo>
                    <a:lnTo>
                      <a:pt x="372" y="216"/>
                    </a:lnTo>
                    <a:lnTo>
                      <a:pt x="374" y="228"/>
                    </a:lnTo>
                    <a:lnTo>
                      <a:pt x="374" y="228"/>
                    </a:lnTo>
                    <a:lnTo>
                      <a:pt x="372" y="238"/>
                    </a:lnTo>
                    <a:lnTo>
                      <a:pt x="370" y="248"/>
                    </a:lnTo>
                    <a:lnTo>
                      <a:pt x="366" y="258"/>
                    </a:lnTo>
                    <a:lnTo>
                      <a:pt x="360" y="270"/>
                    </a:lnTo>
                    <a:lnTo>
                      <a:pt x="360" y="270"/>
                    </a:lnTo>
                    <a:lnTo>
                      <a:pt x="352" y="280"/>
                    </a:lnTo>
                    <a:lnTo>
                      <a:pt x="342" y="290"/>
                    </a:lnTo>
                    <a:lnTo>
                      <a:pt x="320" y="308"/>
                    </a:lnTo>
                    <a:lnTo>
                      <a:pt x="320" y="308"/>
                    </a:lnTo>
                    <a:lnTo>
                      <a:pt x="308" y="316"/>
                    </a:lnTo>
                    <a:lnTo>
                      <a:pt x="292" y="324"/>
                    </a:lnTo>
                    <a:lnTo>
                      <a:pt x="276" y="332"/>
                    </a:lnTo>
                    <a:lnTo>
                      <a:pt x="258" y="338"/>
                    </a:lnTo>
                    <a:lnTo>
                      <a:pt x="258" y="338"/>
                    </a:lnTo>
                    <a:lnTo>
                      <a:pt x="240" y="342"/>
                    </a:lnTo>
                    <a:lnTo>
                      <a:pt x="220" y="346"/>
                    </a:lnTo>
                    <a:lnTo>
                      <a:pt x="200" y="348"/>
                    </a:lnTo>
                    <a:lnTo>
                      <a:pt x="180" y="348"/>
                    </a:lnTo>
                    <a:lnTo>
                      <a:pt x="180" y="348"/>
                    </a:lnTo>
                    <a:lnTo>
                      <a:pt x="156" y="348"/>
                    </a:lnTo>
                    <a:lnTo>
                      <a:pt x="134" y="346"/>
                    </a:lnTo>
                    <a:lnTo>
                      <a:pt x="114" y="342"/>
                    </a:lnTo>
                    <a:lnTo>
                      <a:pt x="94" y="336"/>
                    </a:lnTo>
                    <a:lnTo>
                      <a:pt x="94" y="336"/>
                    </a:lnTo>
                    <a:lnTo>
                      <a:pt x="74" y="328"/>
                    </a:lnTo>
                    <a:lnTo>
                      <a:pt x="56" y="318"/>
                    </a:lnTo>
                    <a:lnTo>
                      <a:pt x="40" y="308"/>
                    </a:lnTo>
                    <a:lnTo>
                      <a:pt x="26" y="296"/>
                    </a:lnTo>
                    <a:lnTo>
                      <a:pt x="26" y="296"/>
                    </a:lnTo>
                    <a:lnTo>
                      <a:pt x="14" y="282"/>
                    </a:lnTo>
                    <a:lnTo>
                      <a:pt x="6" y="266"/>
                    </a:lnTo>
                    <a:lnTo>
                      <a:pt x="0" y="252"/>
                    </a:lnTo>
                    <a:lnTo>
                      <a:pt x="0" y="234"/>
                    </a:lnTo>
                    <a:lnTo>
                      <a:pt x="0" y="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5" name="Group 4">
              <a:extLst>
                <a:ext uri="{FF2B5EF4-FFF2-40B4-BE49-F238E27FC236}">
                  <a16:creationId xmlns:a16="http://schemas.microsoft.com/office/drawing/2014/main" id="{B7B4AD7A-C8C3-A7D7-5B57-8B73ECFBDB28}"/>
                </a:ext>
              </a:extLst>
            </p:cNvPr>
            <p:cNvGrpSpPr/>
            <p:nvPr/>
          </p:nvGrpSpPr>
          <p:grpSpPr>
            <a:xfrm>
              <a:off x="1650482" y="5206304"/>
              <a:ext cx="390295" cy="390295"/>
              <a:chOff x="6127750" y="2970213"/>
              <a:chExt cx="914400" cy="914400"/>
            </a:xfrm>
          </p:grpSpPr>
          <p:sp>
            <p:nvSpPr>
              <p:cNvPr id="19" name="Freeform 35">
                <a:extLst>
                  <a:ext uri="{FF2B5EF4-FFF2-40B4-BE49-F238E27FC236}">
                    <a16:creationId xmlns:a16="http://schemas.microsoft.com/office/drawing/2014/main" id="{AC12A471-F69C-C983-0EAC-95FD3ECE9530}"/>
                  </a:ext>
                </a:extLst>
              </p:cNvPr>
              <p:cNvSpPr>
                <a:spLocks/>
              </p:cNvSpPr>
              <p:nvPr/>
            </p:nvSpPr>
            <p:spPr bwMode="auto">
              <a:xfrm>
                <a:off x="6127750"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2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2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2" y="20"/>
                    </a:lnTo>
                    <a:lnTo>
                      <a:pt x="2" y="26"/>
                    </a:lnTo>
                    <a:lnTo>
                      <a:pt x="0" y="32"/>
                    </a:lnTo>
                    <a:lnTo>
                      <a:pt x="0" y="544"/>
                    </a:lnTo>
                    <a:lnTo>
                      <a:pt x="0" y="544"/>
                    </a:lnTo>
                    <a:lnTo>
                      <a:pt x="2" y="552"/>
                    </a:lnTo>
                    <a:lnTo>
                      <a:pt x="2" y="558"/>
                    </a:lnTo>
                    <a:lnTo>
                      <a:pt x="10" y="568"/>
                    </a:lnTo>
                    <a:lnTo>
                      <a:pt x="20" y="574"/>
                    </a:lnTo>
                    <a:lnTo>
                      <a:pt x="26" y="576"/>
                    </a:lnTo>
                    <a:lnTo>
                      <a:pt x="32" y="576"/>
                    </a:lnTo>
                    <a:lnTo>
                      <a:pt x="544" y="576"/>
                    </a:lnTo>
                    <a:lnTo>
                      <a:pt x="544" y="576"/>
                    </a:lnTo>
                    <a:close/>
                  </a:path>
                </a:pathLst>
              </a:custGeom>
              <a:solidFill>
                <a:srgbClr val="7BB3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20" name="Freeform 36">
                <a:extLst>
                  <a:ext uri="{FF2B5EF4-FFF2-40B4-BE49-F238E27FC236}">
                    <a16:creationId xmlns:a16="http://schemas.microsoft.com/office/drawing/2014/main" id="{D985D371-0326-3BC1-9AC8-8E49B2B35540}"/>
                  </a:ext>
                </a:extLst>
              </p:cNvPr>
              <p:cNvSpPr>
                <a:spLocks noEditPoints="1"/>
              </p:cNvSpPr>
              <p:nvPr/>
            </p:nvSpPr>
            <p:spPr bwMode="auto">
              <a:xfrm>
                <a:off x="6188075" y="3087688"/>
                <a:ext cx="787400" cy="679450"/>
              </a:xfrm>
              <a:custGeom>
                <a:avLst/>
                <a:gdLst>
                  <a:gd name="T0" fmla="*/ 418 w 496"/>
                  <a:gd name="T1" fmla="*/ 414 h 428"/>
                  <a:gd name="T2" fmla="*/ 384 w 496"/>
                  <a:gd name="T3" fmla="*/ 414 h 428"/>
                  <a:gd name="T4" fmla="*/ 346 w 496"/>
                  <a:gd name="T5" fmla="*/ 420 h 428"/>
                  <a:gd name="T6" fmla="*/ 284 w 496"/>
                  <a:gd name="T7" fmla="*/ 408 h 428"/>
                  <a:gd name="T8" fmla="*/ 244 w 496"/>
                  <a:gd name="T9" fmla="*/ 380 h 428"/>
                  <a:gd name="T10" fmla="*/ 210 w 496"/>
                  <a:gd name="T11" fmla="*/ 332 h 428"/>
                  <a:gd name="T12" fmla="*/ 202 w 496"/>
                  <a:gd name="T13" fmla="*/ 278 h 428"/>
                  <a:gd name="T14" fmla="*/ 220 w 496"/>
                  <a:gd name="T15" fmla="*/ 226 h 428"/>
                  <a:gd name="T16" fmla="*/ 262 w 496"/>
                  <a:gd name="T17" fmla="*/ 182 h 428"/>
                  <a:gd name="T18" fmla="*/ 302 w 496"/>
                  <a:gd name="T19" fmla="*/ 164 h 428"/>
                  <a:gd name="T20" fmla="*/ 360 w 496"/>
                  <a:gd name="T21" fmla="*/ 158 h 428"/>
                  <a:gd name="T22" fmla="*/ 414 w 496"/>
                  <a:gd name="T23" fmla="*/ 172 h 428"/>
                  <a:gd name="T24" fmla="*/ 460 w 496"/>
                  <a:gd name="T25" fmla="*/ 204 h 428"/>
                  <a:gd name="T26" fmla="*/ 492 w 496"/>
                  <a:gd name="T27" fmla="*/ 256 h 428"/>
                  <a:gd name="T28" fmla="*/ 484 w 496"/>
                  <a:gd name="T29" fmla="*/ 342 h 428"/>
                  <a:gd name="T30" fmla="*/ 448 w 496"/>
                  <a:gd name="T31" fmla="*/ 388 h 428"/>
                  <a:gd name="T32" fmla="*/ 446 w 496"/>
                  <a:gd name="T33" fmla="*/ 418 h 428"/>
                  <a:gd name="T34" fmla="*/ 282 w 496"/>
                  <a:gd name="T35" fmla="*/ 268 h 428"/>
                  <a:gd name="T36" fmla="*/ 298 w 496"/>
                  <a:gd name="T37" fmla="*/ 258 h 428"/>
                  <a:gd name="T38" fmla="*/ 296 w 496"/>
                  <a:gd name="T39" fmla="*/ 238 h 428"/>
                  <a:gd name="T40" fmla="*/ 276 w 496"/>
                  <a:gd name="T41" fmla="*/ 234 h 428"/>
                  <a:gd name="T42" fmla="*/ 266 w 496"/>
                  <a:gd name="T43" fmla="*/ 250 h 428"/>
                  <a:gd name="T44" fmla="*/ 282 w 496"/>
                  <a:gd name="T45" fmla="*/ 268 h 428"/>
                  <a:gd name="T46" fmla="*/ 384 w 496"/>
                  <a:gd name="T47" fmla="*/ 234 h 428"/>
                  <a:gd name="T48" fmla="*/ 372 w 496"/>
                  <a:gd name="T49" fmla="*/ 250 h 428"/>
                  <a:gd name="T50" fmla="*/ 390 w 496"/>
                  <a:gd name="T51" fmla="*/ 268 h 428"/>
                  <a:gd name="T52" fmla="*/ 406 w 496"/>
                  <a:gd name="T53" fmla="*/ 258 h 428"/>
                  <a:gd name="T54" fmla="*/ 402 w 496"/>
                  <a:gd name="T55" fmla="*/ 238 h 428"/>
                  <a:gd name="T56" fmla="*/ 244 w 496"/>
                  <a:gd name="T57" fmla="*/ 100 h 428"/>
                  <a:gd name="T58" fmla="*/ 224 w 496"/>
                  <a:gd name="T59" fmla="*/ 114 h 428"/>
                  <a:gd name="T60" fmla="*/ 230 w 496"/>
                  <a:gd name="T61" fmla="*/ 136 h 428"/>
                  <a:gd name="T62" fmla="*/ 252 w 496"/>
                  <a:gd name="T63" fmla="*/ 140 h 428"/>
                  <a:gd name="T64" fmla="*/ 264 w 496"/>
                  <a:gd name="T65" fmla="*/ 122 h 428"/>
                  <a:gd name="T66" fmla="*/ 244 w 496"/>
                  <a:gd name="T67" fmla="*/ 100 h 428"/>
                  <a:gd name="T68" fmla="*/ 132 w 496"/>
                  <a:gd name="T69" fmla="*/ 114 h 428"/>
                  <a:gd name="T70" fmla="*/ 112 w 496"/>
                  <a:gd name="T71" fmla="*/ 100 h 428"/>
                  <a:gd name="T72" fmla="*/ 90 w 496"/>
                  <a:gd name="T73" fmla="*/ 120 h 428"/>
                  <a:gd name="T74" fmla="*/ 102 w 496"/>
                  <a:gd name="T75" fmla="*/ 140 h 428"/>
                  <a:gd name="T76" fmla="*/ 126 w 496"/>
                  <a:gd name="T77" fmla="*/ 136 h 428"/>
                  <a:gd name="T78" fmla="*/ 346 w 496"/>
                  <a:gd name="T79" fmla="*/ 140 h 428"/>
                  <a:gd name="T80" fmla="*/ 296 w 496"/>
                  <a:gd name="T81" fmla="*/ 148 h 428"/>
                  <a:gd name="T82" fmla="*/ 240 w 496"/>
                  <a:gd name="T83" fmla="*/ 178 h 428"/>
                  <a:gd name="T84" fmla="*/ 206 w 496"/>
                  <a:gd name="T85" fmla="*/ 214 h 428"/>
                  <a:gd name="T86" fmla="*/ 184 w 496"/>
                  <a:gd name="T87" fmla="*/ 274 h 428"/>
                  <a:gd name="T88" fmla="*/ 132 w 496"/>
                  <a:gd name="T89" fmla="*/ 302 h 428"/>
                  <a:gd name="T90" fmla="*/ 114 w 496"/>
                  <a:gd name="T91" fmla="*/ 306 h 428"/>
                  <a:gd name="T92" fmla="*/ 74 w 496"/>
                  <a:gd name="T93" fmla="*/ 294 h 428"/>
                  <a:gd name="T94" fmla="*/ 72 w 496"/>
                  <a:gd name="T95" fmla="*/ 278 h 428"/>
                  <a:gd name="T96" fmla="*/ 32 w 496"/>
                  <a:gd name="T97" fmla="*/ 242 h 428"/>
                  <a:gd name="T98" fmla="*/ 0 w 496"/>
                  <a:gd name="T99" fmla="*/ 160 h 428"/>
                  <a:gd name="T100" fmla="*/ 12 w 496"/>
                  <a:gd name="T101" fmla="*/ 96 h 428"/>
                  <a:gd name="T102" fmla="*/ 62 w 496"/>
                  <a:gd name="T103" fmla="*/ 36 h 428"/>
                  <a:gd name="T104" fmla="*/ 116 w 496"/>
                  <a:gd name="T105" fmla="*/ 8 h 428"/>
                  <a:gd name="T106" fmla="*/ 226 w 496"/>
                  <a:gd name="T107" fmla="*/ 8 h 428"/>
                  <a:gd name="T108" fmla="*/ 316 w 496"/>
                  <a:gd name="T109" fmla="*/ 68 h 428"/>
                  <a:gd name="T110" fmla="*/ 342 w 496"/>
                  <a:gd name="T111" fmla="*/ 1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28">
                    <a:moveTo>
                      <a:pt x="450" y="428"/>
                    </a:moveTo>
                    <a:lnTo>
                      <a:pt x="450" y="428"/>
                    </a:lnTo>
                    <a:lnTo>
                      <a:pt x="428" y="418"/>
                    </a:lnTo>
                    <a:lnTo>
                      <a:pt x="418" y="414"/>
                    </a:lnTo>
                    <a:lnTo>
                      <a:pt x="406" y="410"/>
                    </a:lnTo>
                    <a:lnTo>
                      <a:pt x="406" y="410"/>
                    </a:lnTo>
                    <a:lnTo>
                      <a:pt x="396" y="412"/>
                    </a:lnTo>
                    <a:lnTo>
                      <a:pt x="384" y="414"/>
                    </a:lnTo>
                    <a:lnTo>
                      <a:pt x="374" y="418"/>
                    </a:lnTo>
                    <a:lnTo>
                      <a:pt x="362" y="420"/>
                    </a:lnTo>
                    <a:lnTo>
                      <a:pt x="362" y="420"/>
                    </a:lnTo>
                    <a:lnTo>
                      <a:pt x="346" y="420"/>
                    </a:lnTo>
                    <a:lnTo>
                      <a:pt x="330" y="420"/>
                    </a:lnTo>
                    <a:lnTo>
                      <a:pt x="314" y="418"/>
                    </a:lnTo>
                    <a:lnTo>
                      <a:pt x="298" y="414"/>
                    </a:lnTo>
                    <a:lnTo>
                      <a:pt x="284" y="408"/>
                    </a:lnTo>
                    <a:lnTo>
                      <a:pt x="270" y="400"/>
                    </a:lnTo>
                    <a:lnTo>
                      <a:pt x="256" y="390"/>
                    </a:lnTo>
                    <a:lnTo>
                      <a:pt x="244" y="380"/>
                    </a:lnTo>
                    <a:lnTo>
                      <a:pt x="244" y="380"/>
                    </a:lnTo>
                    <a:lnTo>
                      <a:pt x="232" y="368"/>
                    </a:lnTo>
                    <a:lnTo>
                      <a:pt x="222" y="356"/>
                    </a:lnTo>
                    <a:lnTo>
                      <a:pt x="216" y="344"/>
                    </a:lnTo>
                    <a:lnTo>
                      <a:pt x="210" y="332"/>
                    </a:lnTo>
                    <a:lnTo>
                      <a:pt x="204" y="318"/>
                    </a:lnTo>
                    <a:lnTo>
                      <a:pt x="202" y="304"/>
                    </a:lnTo>
                    <a:lnTo>
                      <a:pt x="200" y="292"/>
                    </a:lnTo>
                    <a:lnTo>
                      <a:pt x="202" y="278"/>
                    </a:lnTo>
                    <a:lnTo>
                      <a:pt x="204" y="264"/>
                    </a:lnTo>
                    <a:lnTo>
                      <a:pt x="208" y="250"/>
                    </a:lnTo>
                    <a:lnTo>
                      <a:pt x="212" y="238"/>
                    </a:lnTo>
                    <a:lnTo>
                      <a:pt x="220" y="226"/>
                    </a:lnTo>
                    <a:lnTo>
                      <a:pt x="228" y="214"/>
                    </a:lnTo>
                    <a:lnTo>
                      <a:pt x="238" y="202"/>
                    </a:lnTo>
                    <a:lnTo>
                      <a:pt x="250" y="192"/>
                    </a:lnTo>
                    <a:lnTo>
                      <a:pt x="262" y="182"/>
                    </a:lnTo>
                    <a:lnTo>
                      <a:pt x="262" y="182"/>
                    </a:lnTo>
                    <a:lnTo>
                      <a:pt x="276" y="176"/>
                    </a:lnTo>
                    <a:lnTo>
                      <a:pt x="288" y="170"/>
                    </a:lnTo>
                    <a:lnTo>
                      <a:pt x="302" y="164"/>
                    </a:lnTo>
                    <a:lnTo>
                      <a:pt x="316" y="162"/>
                    </a:lnTo>
                    <a:lnTo>
                      <a:pt x="330" y="158"/>
                    </a:lnTo>
                    <a:lnTo>
                      <a:pt x="344" y="158"/>
                    </a:lnTo>
                    <a:lnTo>
                      <a:pt x="360" y="158"/>
                    </a:lnTo>
                    <a:lnTo>
                      <a:pt x="374" y="160"/>
                    </a:lnTo>
                    <a:lnTo>
                      <a:pt x="388" y="162"/>
                    </a:lnTo>
                    <a:lnTo>
                      <a:pt x="402" y="166"/>
                    </a:lnTo>
                    <a:lnTo>
                      <a:pt x="414" y="172"/>
                    </a:lnTo>
                    <a:lnTo>
                      <a:pt x="428" y="178"/>
                    </a:lnTo>
                    <a:lnTo>
                      <a:pt x="440" y="186"/>
                    </a:lnTo>
                    <a:lnTo>
                      <a:pt x="450" y="194"/>
                    </a:lnTo>
                    <a:lnTo>
                      <a:pt x="460" y="204"/>
                    </a:lnTo>
                    <a:lnTo>
                      <a:pt x="470" y="214"/>
                    </a:lnTo>
                    <a:lnTo>
                      <a:pt x="470" y="214"/>
                    </a:lnTo>
                    <a:lnTo>
                      <a:pt x="484" y="234"/>
                    </a:lnTo>
                    <a:lnTo>
                      <a:pt x="492" y="256"/>
                    </a:lnTo>
                    <a:lnTo>
                      <a:pt x="496" y="278"/>
                    </a:lnTo>
                    <a:lnTo>
                      <a:pt x="496" y="300"/>
                    </a:lnTo>
                    <a:lnTo>
                      <a:pt x="494" y="320"/>
                    </a:lnTo>
                    <a:lnTo>
                      <a:pt x="484" y="342"/>
                    </a:lnTo>
                    <a:lnTo>
                      <a:pt x="472" y="360"/>
                    </a:lnTo>
                    <a:lnTo>
                      <a:pt x="456" y="378"/>
                    </a:lnTo>
                    <a:lnTo>
                      <a:pt x="456" y="378"/>
                    </a:lnTo>
                    <a:lnTo>
                      <a:pt x="448" y="388"/>
                    </a:lnTo>
                    <a:lnTo>
                      <a:pt x="442" y="396"/>
                    </a:lnTo>
                    <a:lnTo>
                      <a:pt x="442" y="406"/>
                    </a:lnTo>
                    <a:lnTo>
                      <a:pt x="446" y="418"/>
                    </a:lnTo>
                    <a:lnTo>
                      <a:pt x="446" y="418"/>
                    </a:lnTo>
                    <a:lnTo>
                      <a:pt x="448" y="422"/>
                    </a:lnTo>
                    <a:lnTo>
                      <a:pt x="450" y="428"/>
                    </a:lnTo>
                    <a:lnTo>
                      <a:pt x="450" y="428"/>
                    </a:lnTo>
                    <a:close/>
                    <a:moveTo>
                      <a:pt x="282" y="268"/>
                    </a:moveTo>
                    <a:lnTo>
                      <a:pt x="282" y="268"/>
                    </a:lnTo>
                    <a:lnTo>
                      <a:pt x="290" y="266"/>
                    </a:lnTo>
                    <a:lnTo>
                      <a:pt x="294" y="262"/>
                    </a:lnTo>
                    <a:lnTo>
                      <a:pt x="298" y="258"/>
                    </a:lnTo>
                    <a:lnTo>
                      <a:pt x="300" y="252"/>
                    </a:lnTo>
                    <a:lnTo>
                      <a:pt x="300" y="252"/>
                    </a:lnTo>
                    <a:lnTo>
                      <a:pt x="298" y="244"/>
                    </a:lnTo>
                    <a:lnTo>
                      <a:pt x="296" y="238"/>
                    </a:lnTo>
                    <a:lnTo>
                      <a:pt x="290" y="234"/>
                    </a:lnTo>
                    <a:lnTo>
                      <a:pt x="282" y="234"/>
                    </a:lnTo>
                    <a:lnTo>
                      <a:pt x="282" y="234"/>
                    </a:lnTo>
                    <a:lnTo>
                      <a:pt x="276" y="234"/>
                    </a:lnTo>
                    <a:lnTo>
                      <a:pt x="270" y="238"/>
                    </a:lnTo>
                    <a:lnTo>
                      <a:pt x="266" y="244"/>
                    </a:lnTo>
                    <a:lnTo>
                      <a:pt x="266" y="250"/>
                    </a:lnTo>
                    <a:lnTo>
                      <a:pt x="266" y="250"/>
                    </a:lnTo>
                    <a:lnTo>
                      <a:pt x="266" y="258"/>
                    </a:lnTo>
                    <a:lnTo>
                      <a:pt x="270" y="262"/>
                    </a:lnTo>
                    <a:lnTo>
                      <a:pt x="276" y="266"/>
                    </a:lnTo>
                    <a:lnTo>
                      <a:pt x="282" y="268"/>
                    </a:lnTo>
                    <a:lnTo>
                      <a:pt x="282" y="268"/>
                    </a:lnTo>
                    <a:close/>
                    <a:moveTo>
                      <a:pt x="390" y="234"/>
                    </a:moveTo>
                    <a:lnTo>
                      <a:pt x="390" y="234"/>
                    </a:lnTo>
                    <a:lnTo>
                      <a:pt x="384" y="234"/>
                    </a:lnTo>
                    <a:lnTo>
                      <a:pt x="378" y="238"/>
                    </a:lnTo>
                    <a:lnTo>
                      <a:pt x="374" y="244"/>
                    </a:lnTo>
                    <a:lnTo>
                      <a:pt x="372" y="250"/>
                    </a:lnTo>
                    <a:lnTo>
                      <a:pt x="372" y="250"/>
                    </a:lnTo>
                    <a:lnTo>
                      <a:pt x="374" y="256"/>
                    </a:lnTo>
                    <a:lnTo>
                      <a:pt x="378" y="262"/>
                    </a:lnTo>
                    <a:lnTo>
                      <a:pt x="382" y="266"/>
                    </a:lnTo>
                    <a:lnTo>
                      <a:pt x="390" y="268"/>
                    </a:lnTo>
                    <a:lnTo>
                      <a:pt x="390" y="268"/>
                    </a:lnTo>
                    <a:lnTo>
                      <a:pt x="396" y="266"/>
                    </a:lnTo>
                    <a:lnTo>
                      <a:pt x="402" y="262"/>
                    </a:lnTo>
                    <a:lnTo>
                      <a:pt x="406" y="258"/>
                    </a:lnTo>
                    <a:lnTo>
                      <a:pt x="406" y="252"/>
                    </a:lnTo>
                    <a:lnTo>
                      <a:pt x="406" y="252"/>
                    </a:lnTo>
                    <a:lnTo>
                      <a:pt x="406" y="244"/>
                    </a:lnTo>
                    <a:lnTo>
                      <a:pt x="402" y="238"/>
                    </a:lnTo>
                    <a:lnTo>
                      <a:pt x="396" y="234"/>
                    </a:lnTo>
                    <a:lnTo>
                      <a:pt x="390" y="234"/>
                    </a:lnTo>
                    <a:lnTo>
                      <a:pt x="390" y="234"/>
                    </a:lnTo>
                    <a:close/>
                    <a:moveTo>
                      <a:pt x="244" y="100"/>
                    </a:moveTo>
                    <a:lnTo>
                      <a:pt x="244" y="100"/>
                    </a:lnTo>
                    <a:lnTo>
                      <a:pt x="236" y="102"/>
                    </a:lnTo>
                    <a:lnTo>
                      <a:pt x="228" y="108"/>
                    </a:lnTo>
                    <a:lnTo>
                      <a:pt x="224" y="114"/>
                    </a:lnTo>
                    <a:lnTo>
                      <a:pt x="222" y="122"/>
                    </a:lnTo>
                    <a:lnTo>
                      <a:pt x="222" y="122"/>
                    </a:lnTo>
                    <a:lnTo>
                      <a:pt x="224" y="130"/>
                    </a:lnTo>
                    <a:lnTo>
                      <a:pt x="230" y="136"/>
                    </a:lnTo>
                    <a:lnTo>
                      <a:pt x="236" y="140"/>
                    </a:lnTo>
                    <a:lnTo>
                      <a:pt x="244" y="142"/>
                    </a:lnTo>
                    <a:lnTo>
                      <a:pt x="244" y="142"/>
                    </a:lnTo>
                    <a:lnTo>
                      <a:pt x="252" y="140"/>
                    </a:lnTo>
                    <a:lnTo>
                      <a:pt x="258" y="136"/>
                    </a:lnTo>
                    <a:lnTo>
                      <a:pt x="264" y="130"/>
                    </a:lnTo>
                    <a:lnTo>
                      <a:pt x="264" y="122"/>
                    </a:lnTo>
                    <a:lnTo>
                      <a:pt x="264" y="122"/>
                    </a:lnTo>
                    <a:lnTo>
                      <a:pt x="264" y="114"/>
                    </a:lnTo>
                    <a:lnTo>
                      <a:pt x="258" y="106"/>
                    </a:lnTo>
                    <a:lnTo>
                      <a:pt x="252" y="102"/>
                    </a:lnTo>
                    <a:lnTo>
                      <a:pt x="244" y="100"/>
                    </a:lnTo>
                    <a:lnTo>
                      <a:pt x="244" y="100"/>
                    </a:lnTo>
                    <a:close/>
                    <a:moveTo>
                      <a:pt x="132" y="122"/>
                    </a:moveTo>
                    <a:lnTo>
                      <a:pt x="132" y="122"/>
                    </a:lnTo>
                    <a:lnTo>
                      <a:pt x="132" y="114"/>
                    </a:lnTo>
                    <a:lnTo>
                      <a:pt x="128" y="108"/>
                    </a:lnTo>
                    <a:lnTo>
                      <a:pt x="120" y="102"/>
                    </a:lnTo>
                    <a:lnTo>
                      <a:pt x="112" y="100"/>
                    </a:lnTo>
                    <a:lnTo>
                      <a:pt x="112" y="100"/>
                    </a:lnTo>
                    <a:lnTo>
                      <a:pt x="104" y="102"/>
                    </a:lnTo>
                    <a:lnTo>
                      <a:pt x="98" y="106"/>
                    </a:lnTo>
                    <a:lnTo>
                      <a:pt x="92" y="112"/>
                    </a:lnTo>
                    <a:lnTo>
                      <a:pt x="90" y="120"/>
                    </a:lnTo>
                    <a:lnTo>
                      <a:pt x="90" y="120"/>
                    </a:lnTo>
                    <a:lnTo>
                      <a:pt x="92" y="128"/>
                    </a:lnTo>
                    <a:lnTo>
                      <a:pt x="96" y="136"/>
                    </a:lnTo>
                    <a:lnTo>
                      <a:pt x="102" y="140"/>
                    </a:lnTo>
                    <a:lnTo>
                      <a:pt x="112" y="142"/>
                    </a:lnTo>
                    <a:lnTo>
                      <a:pt x="112" y="142"/>
                    </a:lnTo>
                    <a:lnTo>
                      <a:pt x="120" y="140"/>
                    </a:lnTo>
                    <a:lnTo>
                      <a:pt x="126" y="136"/>
                    </a:lnTo>
                    <a:lnTo>
                      <a:pt x="130" y="130"/>
                    </a:lnTo>
                    <a:lnTo>
                      <a:pt x="132" y="122"/>
                    </a:lnTo>
                    <a:lnTo>
                      <a:pt x="132" y="122"/>
                    </a:lnTo>
                    <a:close/>
                    <a:moveTo>
                      <a:pt x="346" y="140"/>
                    </a:moveTo>
                    <a:lnTo>
                      <a:pt x="346" y="140"/>
                    </a:lnTo>
                    <a:lnTo>
                      <a:pt x="328" y="142"/>
                    </a:lnTo>
                    <a:lnTo>
                      <a:pt x="312" y="144"/>
                    </a:lnTo>
                    <a:lnTo>
                      <a:pt x="296" y="148"/>
                    </a:lnTo>
                    <a:lnTo>
                      <a:pt x="280" y="154"/>
                    </a:lnTo>
                    <a:lnTo>
                      <a:pt x="266" y="160"/>
                    </a:lnTo>
                    <a:lnTo>
                      <a:pt x="252" y="168"/>
                    </a:lnTo>
                    <a:lnTo>
                      <a:pt x="240" y="178"/>
                    </a:lnTo>
                    <a:lnTo>
                      <a:pt x="226" y="188"/>
                    </a:lnTo>
                    <a:lnTo>
                      <a:pt x="226" y="188"/>
                    </a:lnTo>
                    <a:lnTo>
                      <a:pt x="214" y="202"/>
                    </a:lnTo>
                    <a:lnTo>
                      <a:pt x="206" y="214"/>
                    </a:lnTo>
                    <a:lnTo>
                      <a:pt x="196" y="228"/>
                    </a:lnTo>
                    <a:lnTo>
                      <a:pt x="190" y="242"/>
                    </a:lnTo>
                    <a:lnTo>
                      <a:pt x="186" y="258"/>
                    </a:lnTo>
                    <a:lnTo>
                      <a:pt x="184" y="274"/>
                    </a:lnTo>
                    <a:lnTo>
                      <a:pt x="182" y="290"/>
                    </a:lnTo>
                    <a:lnTo>
                      <a:pt x="182" y="308"/>
                    </a:lnTo>
                    <a:lnTo>
                      <a:pt x="182" y="308"/>
                    </a:lnTo>
                    <a:lnTo>
                      <a:pt x="132" y="302"/>
                    </a:lnTo>
                    <a:lnTo>
                      <a:pt x="132" y="302"/>
                    </a:lnTo>
                    <a:lnTo>
                      <a:pt x="122" y="302"/>
                    </a:lnTo>
                    <a:lnTo>
                      <a:pt x="114" y="306"/>
                    </a:lnTo>
                    <a:lnTo>
                      <a:pt x="114" y="306"/>
                    </a:lnTo>
                    <a:lnTo>
                      <a:pt x="64" y="336"/>
                    </a:lnTo>
                    <a:lnTo>
                      <a:pt x="64" y="336"/>
                    </a:lnTo>
                    <a:lnTo>
                      <a:pt x="70" y="314"/>
                    </a:lnTo>
                    <a:lnTo>
                      <a:pt x="74" y="294"/>
                    </a:lnTo>
                    <a:lnTo>
                      <a:pt x="74" y="294"/>
                    </a:lnTo>
                    <a:lnTo>
                      <a:pt x="76" y="288"/>
                    </a:lnTo>
                    <a:lnTo>
                      <a:pt x="74" y="284"/>
                    </a:lnTo>
                    <a:lnTo>
                      <a:pt x="72" y="278"/>
                    </a:lnTo>
                    <a:lnTo>
                      <a:pt x="66" y="274"/>
                    </a:lnTo>
                    <a:lnTo>
                      <a:pt x="66" y="274"/>
                    </a:lnTo>
                    <a:lnTo>
                      <a:pt x="48" y="258"/>
                    </a:lnTo>
                    <a:lnTo>
                      <a:pt x="32" y="242"/>
                    </a:lnTo>
                    <a:lnTo>
                      <a:pt x="18" y="222"/>
                    </a:lnTo>
                    <a:lnTo>
                      <a:pt x="8" y="204"/>
                    </a:lnTo>
                    <a:lnTo>
                      <a:pt x="2" y="182"/>
                    </a:lnTo>
                    <a:lnTo>
                      <a:pt x="0" y="160"/>
                    </a:lnTo>
                    <a:lnTo>
                      <a:pt x="0" y="138"/>
                    </a:lnTo>
                    <a:lnTo>
                      <a:pt x="6" y="116"/>
                    </a:lnTo>
                    <a:lnTo>
                      <a:pt x="6" y="116"/>
                    </a:lnTo>
                    <a:lnTo>
                      <a:pt x="12" y="96"/>
                    </a:lnTo>
                    <a:lnTo>
                      <a:pt x="22" y="78"/>
                    </a:lnTo>
                    <a:lnTo>
                      <a:pt x="34" y="62"/>
                    </a:lnTo>
                    <a:lnTo>
                      <a:pt x="46" y="48"/>
                    </a:lnTo>
                    <a:lnTo>
                      <a:pt x="62" y="36"/>
                    </a:lnTo>
                    <a:lnTo>
                      <a:pt x="78" y="26"/>
                    </a:lnTo>
                    <a:lnTo>
                      <a:pt x="96" y="16"/>
                    </a:lnTo>
                    <a:lnTo>
                      <a:pt x="116" y="8"/>
                    </a:lnTo>
                    <a:lnTo>
                      <a:pt x="116" y="8"/>
                    </a:lnTo>
                    <a:lnTo>
                      <a:pt x="144" y="2"/>
                    </a:lnTo>
                    <a:lnTo>
                      <a:pt x="172" y="0"/>
                    </a:lnTo>
                    <a:lnTo>
                      <a:pt x="200" y="2"/>
                    </a:lnTo>
                    <a:lnTo>
                      <a:pt x="226" y="8"/>
                    </a:lnTo>
                    <a:lnTo>
                      <a:pt x="252" y="18"/>
                    </a:lnTo>
                    <a:lnTo>
                      <a:pt x="276" y="30"/>
                    </a:lnTo>
                    <a:lnTo>
                      <a:pt x="298" y="48"/>
                    </a:lnTo>
                    <a:lnTo>
                      <a:pt x="316" y="68"/>
                    </a:lnTo>
                    <a:lnTo>
                      <a:pt x="316" y="68"/>
                    </a:lnTo>
                    <a:lnTo>
                      <a:pt x="328" y="84"/>
                    </a:lnTo>
                    <a:lnTo>
                      <a:pt x="336" y="102"/>
                    </a:lnTo>
                    <a:lnTo>
                      <a:pt x="342" y="120"/>
                    </a:lnTo>
                    <a:lnTo>
                      <a:pt x="346" y="140"/>
                    </a:lnTo>
                    <a:lnTo>
                      <a:pt x="34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6" name="Group 5">
              <a:extLst>
                <a:ext uri="{FF2B5EF4-FFF2-40B4-BE49-F238E27FC236}">
                  <a16:creationId xmlns:a16="http://schemas.microsoft.com/office/drawing/2014/main" id="{98D968F8-3013-6467-51D9-ED976C42C50A}"/>
                </a:ext>
              </a:extLst>
            </p:cNvPr>
            <p:cNvGrpSpPr/>
            <p:nvPr/>
          </p:nvGrpSpPr>
          <p:grpSpPr>
            <a:xfrm>
              <a:off x="1223597" y="5206304"/>
              <a:ext cx="390295" cy="390295"/>
              <a:chOff x="5127625" y="2970213"/>
              <a:chExt cx="914400" cy="914400"/>
            </a:xfrm>
          </p:grpSpPr>
          <p:sp>
            <p:nvSpPr>
              <p:cNvPr id="14" name="Freeform 31">
                <a:extLst>
                  <a:ext uri="{FF2B5EF4-FFF2-40B4-BE49-F238E27FC236}">
                    <a16:creationId xmlns:a16="http://schemas.microsoft.com/office/drawing/2014/main" id="{DC9D02A4-68A5-A915-880C-571D68A74564}"/>
                  </a:ext>
                </a:extLst>
              </p:cNvPr>
              <p:cNvSpPr>
                <a:spLocks/>
              </p:cNvSpPr>
              <p:nvPr/>
            </p:nvSpPr>
            <p:spPr bwMode="auto">
              <a:xfrm>
                <a:off x="5127625"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30 w 576"/>
                  <a:gd name="T25" fmla="*/ 576 h 576"/>
                  <a:gd name="T26" fmla="*/ 22 w 576"/>
                  <a:gd name="T27" fmla="*/ 574 h 576"/>
                  <a:gd name="T28" fmla="*/ 16 w 576"/>
                  <a:gd name="T29" fmla="*/ 570 h 576"/>
                  <a:gd name="T30" fmla="*/ 10 w 576"/>
                  <a:gd name="T31" fmla="*/ 566 h 576"/>
                  <a:gd name="T32" fmla="*/ 6 w 576"/>
                  <a:gd name="T33" fmla="*/ 560 h 576"/>
                  <a:gd name="T34" fmla="*/ 4 w 576"/>
                  <a:gd name="T35" fmla="*/ 554 h 576"/>
                  <a:gd name="T36" fmla="*/ 2 w 576"/>
                  <a:gd name="T37" fmla="*/ 548 h 576"/>
                  <a:gd name="T38" fmla="*/ 0 w 576"/>
                  <a:gd name="T39" fmla="*/ 540 h 576"/>
                  <a:gd name="T40" fmla="*/ 0 w 576"/>
                  <a:gd name="T41" fmla="*/ 36 h 576"/>
                  <a:gd name="T42" fmla="*/ 0 w 576"/>
                  <a:gd name="T43" fmla="*/ 36 h 576"/>
                  <a:gd name="T44" fmla="*/ 2 w 576"/>
                  <a:gd name="T45" fmla="*/ 30 h 576"/>
                  <a:gd name="T46" fmla="*/ 4 w 576"/>
                  <a:gd name="T47" fmla="*/ 22 h 576"/>
                  <a:gd name="T48" fmla="*/ 6 w 576"/>
                  <a:gd name="T49" fmla="*/ 16 h 576"/>
                  <a:gd name="T50" fmla="*/ 10 w 576"/>
                  <a:gd name="T51" fmla="*/ 12 h 576"/>
                  <a:gd name="T52" fmla="*/ 16 w 576"/>
                  <a:gd name="T53" fmla="*/ 6 h 576"/>
                  <a:gd name="T54" fmla="*/ 22 w 576"/>
                  <a:gd name="T55" fmla="*/ 4 h 576"/>
                  <a:gd name="T56" fmla="*/ 30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30" y="576"/>
                    </a:lnTo>
                    <a:lnTo>
                      <a:pt x="22" y="574"/>
                    </a:lnTo>
                    <a:lnTo>
                      <a:pt x="16" y="570"/>
                    </a:lnTo>
                    <a:lnTo>
                      <a:pt x="10" y="566"/>
                    </a:lnTo>
                    <a:lnTo>
                      <a:pt x="6" y="560"/>
                    </a:lnTo>
                    <a:lnTo>
                      <a:pt x="4" y="554"/>
                    </a:lnTo>
                    <a:lnTo>
                      <a:pt x="2" y="548"/>
                    </a:lnTo>
                    <a:lnTo>
                      <a:pt x="0" y="540"/>
                    </a:lnTo>
                    <a:lnTo>
                      <a:pt x="0" y="36"/>
                    </a:lnTo>
                    <a:lnTo>
                      <a:pt x="0" y="36"/>
                    </a:lnTo>
                    <a:lnTo>
                      <a:pt x="2" y="30"/>
                    </a:lnTo>
                    <a:lnTo>
                      <a:pt x="4" y="22"/>
                    </a:lnTo>
                    <a:lnTo>
                      <a:pt x="6" y="16"/>
                    </a:lnTo>
                    <a:lnTo>
                      <a:pt x="10" y="12"/>
                    </a:lnTo>
                    <a:lnTo>
                      <a:pt x="16" y="6"/>
                    </a:lnTo>
                    <a:lnTo>
                      <a:pt x="22" y="4"/>
                    </a:lnTo>
                    <a:lnTo>
                      <a:pt x="30"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F52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5" name="Freeform 32">
                <a:extLst>
                  <a:ext uri="{FF2B5EF4-FFF2-40B4-BE49-F238E27FC236}">
                    <a16:creationId xmlns:a16="http://schemas.microsoft.com/office/drawing/2014/main" id="{BEDD37CE-C3F5-D3AA-DF72-AC4C271CE3DB}"/>
                  </a:ext>
                </a:extLst>
              </p:cNvPr>
              <p:cNvSpPr>
                <a:spLocks/>
              </p:cNvSpPr>
              <p:nvPr/>
            </p:nvSpPr>
            <p:spPr bwMode="auto">
              <a:xfrm>
                <a:off x="5499100" y="3113088"/>
                <a:ext cx="400050" cy="771525"/>
              </a:xfrm>
              <a:custGeom>
                <a:avLst/>
                <a:gdLst>
                  <a:gd name="T0" fmla="*/ 162 w 252"/>
                  <a:gd name="T1" fmla="*/ 486 h 486"/>
                  <a:gd name="T2" fmla="*/ 162 w 252"/>
                  <a:gd name="T3" fmla="*/ 270 h 486"/>
                  <a:gd name="T4" fmla="*/ 234 w 252"/>
                  <a:gd name="T5" fmla="*/ 270 h 486"/>
                  <a:gd name="T6" fmla="*/ 252 w 252"/>
                  <a:gd name="T7" fmla="*/ 180 h 486"/>
                  <a:gd name="T8" fmla="*/ 162 w 252"/>
                  <a:gd name="T9" fmla="*/ 180 h 486"/>
                  <a:gd name="T10" fmla="*/ 162 w 252"/>
                  <a:gd name="T11" fmla="*/ 144 h 486"/>
                  <a:gd name="T12" fmla="*/ 162 w 252"/>
                  <a:gd name="T13" fmla="*/ 144 h 486"/>
                  <a:gd name="T14" fmla="*/ 164 w 252"/>
                  <a:gd name="T15" fmla="*/ 132 h 486"/>
                  <a:gd name="T16" fmla="*/ 166 w 252"/>
                  <a:gd name="T17" fmla="*/ 122 h 486"/>
                  <a:gd name="T18" fmla="*/ 170 w 252"/>
                  <a:gd name="T19" fmla="*/ 112 h 486"/>
                  <a:gd name="T20" fmla="*/ 176 w 252"/>
                  <a:gd name="T21" fmla="*/ 104 h 486"/>
                  <a:gd name="T22" fmla="*/ 184 w 252"/>
                  <a:gd name="T23" fmla="*/ 98 h 486"/>
                  <a:gd name="T24" fmla="*/ 192 w 252"/>
                  <a:gd name="T25" fmla="*/ 94 h 486"/>
                  <a:gd name="T26" fmla="*/ 204 w 252"/>
                  <a:gd name="T27" fmla="*/ 92 h 486"/>
                  <a:gd name="T28" fmla="*/ 216 w 252"/>
                  <a:gd name="T29" fmla="*/ 90 h 486"/>
                  <a:gd name="T30" fmla="*/ 252 w 252"/>
                  <a:gd name="T31" fmla="*/ 90 h 486"/>
                  <a:gd name="T32" fmla="*/ 252 w 252"/>
                  <a:gd name="T33" fmla="*/ 0 h 486"/>
                  <a:gd name="T34" fmla="*/ 252 w 252"/>
                  <a:gd name="T35" fmla="*/ 0 h 486"/>
                  <a:gd name="T36" fmla="*/ 180 w 252"/>
                  <a:gd name="T37" fmla="*/ 0 h 486"/>
                  <a:gd name="T38" fmla="*/ 180 w 252"/>
                  <a:gd name="T39" fmla="*/ 0 h 486"/>
                  <a:gd name="T40" fmla="*/ 168 w 252"/>
                  <a:gd name="T41" fmla="*/ 2 h 486"/>
                  <a:gd name="T42" fmla="*/ 156 w 252"/>
                  <a:gd name="T43" fmla="*/ 4 h 486"/>
                  <a:gd name="T44" fmla="*/ 146 w 252"/>
                  <a:gd name="T45" fmla="*/ 6 h 486"/>
                  <a:gd name="T46" fmla="*/ 136 w 252"/>
                  <a:gd name="T47" fmla="*/ 10 h 486"/>
                  <a:gd name="T48" fmla="*/ 126 w 252"/>
                  <a:gd name="T49" fmla="*/ 16 h 486"/>
                  <a:gd name="T50" fmla="*/ 118 w 252"/>
                  <a:gd name="T51" fmla="*/ 22 h 486"/>
                  <a:gd name="T52" fmla="*/ 102 w 252"/>
                  <a:gd name="T53" fmla="*/ 36 h 486"/>
                  <a:gd name="T54" fmla="*/ 90 w 252"/>
                  <a:gd name="T55" fmla="*/ 54 h 486"/>
                  <a:gd name="T56" fmla="*/ 80 w 252"/>
                  <a:gd name="T57" fmla="*/ 76 h 486"/>
                  <a:gd name="T58" fmla="*/ 74 w 252"/>
                  <a:gd name="T59" fmla="*/ 100 h 486"/>
                  <a:gd name="T60" fmla="*/ 72 w 252"/>
                  <a:gd name="T61" fmla="*/ 126 h 486"/>
                  <a:gd name="T62" fmla="*/ 72 w 252"/>
                  <a:gd name="T63" fmla="*/ 180 h 486"/>
                  <a:gd name="T64" fmla="*/ 0 w 252"/>
                  <a:gd name="T65" fmla="*/ 180 h 486"/>
                  <a:gd name="T66" fmla="*/ 0 w 252"/>
                  <a:gd name="T67" fmla="*/ 270 h 486"/>
                  <a:gd name="T68" fmla="*/ 72 w 252"/>
                  <a:gd name="T69" fmla="*/ 270 h 486"/>
                  <a:gd name="T70" fmla="*/ 72 w 252"/>
                  <a:gd name="T71" fmla="*/ 486 h 486"/>
                  <a:gd name="T72" fmla="*/ 162 w 252"/>
                  <a:gd name="T73" fmla="*/ 486 h 486"/>
                  <a:gd name="T74" fmla="*/ 162 w 252"/>
                  <a:gd name="T75"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486">
                    <a:moveTo>
                      <a:pt x="162" y="486"/>
                    </a:moveTo>
                    <a:lnTo>
                      <a:pt x="162" y="270"/>
                    </a:lnTo>
                    <a:lnTo>
                      <a:pt x="234" y="270"/>
                    </a:lnTo>
                    <a:lnTo>
                      <a:pt x="252" y="180"/>
                    </a:lnTo>
                    <a:lnTo>
                      <a:pt x="162" y="180"/>
                    </a:lnTo>
                    <a:lnTo>
                      <a:pt x="162" y="144"/>
                    </a:lnTo>
                    <a:lnTo>
                      <a:pt x="162" y="144"/>
                    </a:lnTo>
                    <a:lnTo>
                      <a:pt x="164" y="132"/>
                    </a:lnTo>
                    <a:lnTo>
                      <a:pt x="166" y="122"/>
                    </a:lnTo>
                    <a:lnTo>
                      <a:pt x="170" y="112"/>
                    </a:lnTo>
                    <a:lnTo>
                      <a:pt x="176" y="104"/>
                    </a:lnTo>
                    <a:lnTo>
                      <a:pt x="184" y="98"/>
                    </a:lnTo>
                    <a:lnTo>
                      <a:pt x="192" y="94"/>
                    </a:lnTo>
                    <a:lnTo>
                      <a:pt x="204" y="92"/>
                    </a:lnTo>
                    <a:lnTo>
                      <a:pt x="216" y="90"/>
                    </a:lnTo>
                    <a:lnTo>
                      <a:pt x="252" y="90"/>
                    </a:lnTo>
                    <a:lnTo>
                      <a:pt x="252" y="0"/>
                    </a:lnTo>
                    <a:lnTo>
                      <a:pt x="252" y="0"/>
                    </a:lnTo>
                    <a:lnTo>
                      <a:pt x="180" y="0"/>
                    </a:lnTo>
                    <a:lnTo>
                      <a:pt x="180" y="0"/>
                    </a:lnTo>
                    <a:lnTo>
                      <a:pt x="168" y="2"/>
                    </a:lnTo>
                    <a:lnTo>
                      <a:pt x="156" y="4"/>
                    </a:lnTo>
                    <a:lnTo>
                      <a:pt x="146" y="6"/>
                    </a:lnTo>
                    <a:lnTo>
                      <a:pt x="136" y="10"/>
                    </a:lnTo>
                    <a:lnTo>
                      <a:pt x="126" y="16"/>
                    </a:lnTo>
                    <a:lnTo>
                      <a:pt x="118" y="22"/>
                    </a:lnTo>
                    <a:lnTo>
                      <a:pt x="102" y="36"/>
                    </a:lnTo>
                    <a:lnTo>
                      <a:pt x="90" y="54"/>
                    </a:lnTo>
                    <a:lnTo>
                      <a:pt x="80" y="76"/>
                    </a:lnTo>
                    <a:lnTo>
                      <a:pt x="74" y="100"/>
                    </a:lnTo>
                    <a:lnTo>
                      <a:pt x="72" y="126"/>
                    </a:lnTo>
                    <a:lnTo>
                      <a:pt x="72" y="180"/>
                    </a:lnTo>
                    <a:lnTo>
                      <a:pt x="0" y="180"/>
                    </a:lnTo>
                    <a:lnTo>
                      <a:pt x="0" y="270"/>
                    </a:lnTo>
                    <a:lnTo>
                      <a:pt x="72" y="270"/>
                    </a:lnTo>
                    <a:lnTo>
                      <a:pt x="72" y="486"/>
                    </a:lnTo>
                    <a:lnTo>
                      <a:pt x="162" y="486"/>
                    </a:lnTo>
                    <a:lnTo>
                      <a:pt x="162" y="4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7" name="Group 6">
              <a:extLst>
                <a:ext uri="{FF2B5EF4-FFF2-40B4-BE49-F238E27FC236}">
                  <a16:creationId xmlns:a16="http://schemas.microsoft.com/office/drawing/2014/main" id="{0025C499-52FB-28D9-D106-2FD898877ED3}"/>
                </a:ext>
              </a:extLst>
            </p:cNvPr>
            <p:cNvGrpSpPr/>
            <p:nvPr/>
          </p:nvGrpSpPr>
          <p:grpSpPr>
            <a:xfrm>
              <a:off x="369827" y="5206304"/>
              <a:ext cx="390295" cy="390295"/>
              <a:chOff x="3127375" y="2970213"/>
              <a:chExt cx="914400" cy="914400"/>
            </a:xfrm>
          </p:grpSpPr>
          <p:sp>
            <p:nvSpPr>
              <p:cNvPr id="9" name="Freeform 26">
                <a:extLst>
                  <a:ext uri="{FF2B5EF4-FFF2-40B4-BE49-F238E27FC236}">
                    <a16:creationId xmlns:a16="http://schemas.microsoft.com/office/drawing/2014/main" id="{09E80341-BD05-61C0-F150-26D86D8545DF}"/>
                  </a:ext>
                </a:extLst>
              </p:cNvPr>
              <p:cNvSpPr>
                <a:spLocks/>
              </p:cNvSpPr>
              <p:nvPr/>
            </p:nvSpPr>
            <p:spPr bwMode="auto">
              <a:xfrm>
                <a:off x="3127375" y="2970213"/>
                <a:ext cx="914400" cy="914400"/>
              </a:xfrm>
              <a:custGeom>
                <a:avLst/>
                <a:gdLst>
                  <a:gd name="T0" fmla="*/ 534 w 576"/>
                  <a:gd name="T1" fmla="*/ 0 h 576"/>
                  <a:gd name="T2" fmla="*/ 42 w 576"/>
                  <a:gd name="T3" fmla="*/ 0 h 576"/>
                  <a:gd name="T4" fmla="*/ 42 w 576"/>
                  <a:gd name="T5" fmla="*/ 0 h 576"/>
                  <a:gd name="T6" fmla="*/ 34 w 576"/>
                  <a:gd name="T7" fmla="*/ 2 h 576"/>
                  <a:gd name="T8" fmla="*/ 26 w 576"/>
                  <a:gd name="T9" fmla="*/ 4 h 576"/>
                  <a:gd name="T10" fmla="*/ 18 w 576"/>
                  <a:gd name="T11" fmla="*/ 8 h 576"/>
                  <a:gd name="T12" fmla="*/ 12 w 576"/>
                  <a:gd name="T13" fmla="*/ 12 h 576"/>
                  <a:gd name="T14" fmla="*/ 8 w 576"/>
                  <a:gd name="T15" fmla="*/ 20 h 576"/>
                  <a:gd name="T16" fmla="*/ 4 w 576"/>
                  <a:gd name="T17" fmla="*/ 26 h 576"/>
                  <a:gd name="T18" fmla="*/ 0 w 576"/>
                  <a:gd name="T19" fmla="*/ 34 h 576"/>
                  <a:gd name="T20" fmla="*/ 0 w 576"/>
                  <a:gd name="T21" fmla="*/ 42 h 576"/>
                  <a:gd name="T22" fmla="*/ 0 w 576"/>
                  <a:gd name="T23" fmla="*/ 536 h 576"/>
                  <a:gd name="T24" fmla="*/ 0 w 576"/>
                  <a:gd name="T25" fmla="*/ 536 h 576"/>
                  <a:gd name="T26" fmla="*/ 0 w 576"/>
                  <a:gd name="T27" fmla="*/ 544 h 576"/>
                  <a:gd name="T28" fmla="*/ 4 w 576"/>
                  <a:gd name="T29" fmla="*/ 552 h 576"/>
                  <a:gd name="T30" fmla="*/ 8 w 576"/>
                  <a:gd name="T31" fmla="*/ 558 h 576"/>
                  <a:gd name="T32" fmla="*/ 12 w 576"/>
                  <a:gd name="T33" fmla="*/ 564 h 576"/>
                  <a:gd name="T34" fmla="*/ 18 w 576"/>
                  <a:gd name="T35" fmla="*/ 570 h 576"/>
                  <a:gd name="T36" fmla="*/ 26 w 576"/>
                  <a:gd name="T37" fmla="*/ 574 h 576"/>
                  <a:gd name="T38" fmla="*/ 34 w 576"/>
                  <a:gd name="T39" fmla="*/ 576 h 576"/>
                  <a:gd name="T40" fmla="*/ 42 w 576"/>
                  <a:gd name="T41" fmla="*/ 576 h 576"/>
                  <a:gd name="T42" fmla="*/ 534 w 576"/>
                  <a:gd name="T43" fmla="*/ 576 h 576"/>
                  <a:gd name="T44" fmla="*/ 534 w 576"/>
                  <a:gd name="T45" fmla="*/ 576 h 576"/>
                  <a:gd name="T46" fmla="*/ 542 w 576"/>
                  <a:gd name="T47" fmla="*/ 576 h 576"/>
                  <a:gd name="T48" fmla="*/ 550 w 576"/>
                  <a:gd name="T49" fmla="*/ 574 h 576"/>
                  <a:gd name="T50" fmla="*/ 558 w 576"/>
                  <a:gd name="T51" fmla="*/ 570 h 576"/>
                  <a:gd name="T52" fmla="*/ 564 w 576"/>
                  <a:gd name="T53" fmla="*/ 564 h 576"/>
                  <a:gd name="T54" fmla="*/ 568 w 576"/>
                  <a:gd name="T55" fmla="*/ 558 h 576"/>
                  <a:gd name="T56" fmla="*/ 572 w 576"/>
                  <a:gd name="T57" fmla="*/ 552 h 576"/>
                  <a:gd name="T58" fmla="*/ 576 w 576"/>
                  <a:gd name="T59" fmla="*/ 544 h 576"/>
                  <a:gd name="T60" fmla="*/ 576 w 576"/>
                  <a:gd name="T61" fmla="*/ 536 h 576"/>
                  <a:gd name="T62" fmla="*/ 576 w 576"/>
                  <a:gd name="T63" fmla="*/ 42 h 576"/>
                  <a:gd name="T64" fmla="*/ 576 w 576"/>
                  <a:gd name="T65" fmla="*/ 42 h 576"/>
                  <a:gd name="T66" fmla="*/ 576 w 576"/>
                  <a:gd name="T67" fmla="*/ 34 h 576"/>
                  <a:gd name="T68" fmla="*/ 572 w 576"/>
                  <a:gd name="T69" fmla="*/ 26 h 576"/>
                  <a:gd name="T70" fmla="*/ 568 w 576"/>
                  <a:gd name="T71" fmla="*/ 20 h 576"/>
                  <a:gd name="T72" fmla="*/ 564 w 576"/>
                  <a:gd name="T73" fmla="*/ 12 h 576"/>
                  <a:gd name="T74" fmla="*/ 558 w 576"/>
                  <a:gd name="T75" fmla="*/ 8 h 576"/>
                  <a:gd name="T76" fmla="*/ 550 w 576"/>
                  <a:gd name="T77" fmla="*/ 4 h 576"/>
                  <a:gd name="T78" fmla="*/ 542 w 576"/>
                  <a:gd name="T79" fmla="*/ 2 h 576"/>
                  <a:gd name="T80" fmla="*/ 534 w 576"/>
                  <a:gd name="T81" fmla="*/ 0 h 576"/>
                  <a:gd name="T82" fmla="*/ 534 w 576"/>
                  <a:gd name="T83"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34" y="0"/>
                    </a:moveTo>
                    <a:lnTo>
                      <a:pt x="42" y="0"/>
                    </a:lnTo>
                    <a:lnTo>
                      <a:pt x="42" y="0"/>
                    </a:lnTo>
                    <a:lnTo>
                      <a:pt x="34" y="2"/>
                    </a:lnTo>
                    <a:lnTo>
                      <a:pt x="26" y="4"/>
                    </a:lnTo>
                    <a:lnTo>
                      <a:pt x="18" y="8"/>
                    </a:lnTo>
                    <a:lnTo>
                      <a:pt x="12" y="12"/>
                    </a:lnTo>
                    <a:lnTo>
                      <a:pt x="8" y="20"/>
                    </a:lnTo>
                    <a:lnTo>
                      <a:pt x="4" y="26"/>
                    </a:lnTo>
                    <a:lnTo>
                      <a:pt x="0" y="34"/>
                    </a:lnTo>
                    <a:lnTo>
                      <a:pt x="0" y="42"/>
                    </a:lnTo>
                    <a:lnTo>
                      <a:pt x="0" y="536"/>
                    </a:lnTo>
                    <a:lnTo>
                      <a:pt x="0" y="536"/>
                    </a:lnTo>
                    <a:lnTo>
                      <a:pt x="0" y="544"/>
                    </a:lnTo>
                    <a:lnTo>
                      <a:pt x="4" y="552"/>
                    </a:lnTo>
                    <a:lnTo>
                      <a:pt x="8" y="558"/>
                    </a:lnTo>
                    <a:lnTo>
                      <a:pt x="12" y="564"/>
                    </a:lnTo>
                    <a:lnTo>
                      <a:pt x="18" y="570"/>
                    </a:lnTo>
                    <a:lnTo>
                      <a:pt x="26" y="574"/>
                    </a:lnTo>
                    <a:lnTo>
                      <a:pt x="34" y="576"/>
                    </a:lnTo>
                    <a:lnTo>
                      <a:pt x="42" y="576"/>
                    </a:lnTo>
                    <a:lnTo>
                      <a:pt x="534" y="576"/>
                    </a:lnTo>
                    <a:lnTo>
                      <a:pt x="534" y="576"/>
                    </a:lnTo>
                    <a:lnTo>
                      <a:pt x="542" y="576"/>
                    </a:lnTo>
                    <a:lnTo>
                      <a:pt x="550" y="574"/>
                    </a:lnTo>
                    <a:lnTo>
                      <a:pt x="558" y="570"/>
                    </a:lnTo>
                    <a:lnTo>
                      <a:pt x="564" y="564"/>
                    </a:lnTo>
                    <a:lnTo>
                      <a:pt x="568" y="558"/>
                    </a:lnTo>
                    <a:lnTo>
                      <a:pt x="572" y="552"/>
                    </a:lnTo>
                    <a:lnTo>
                      <a:pt x="576" y="544"/>
                    </a:lnTo>
                    <a:lnTo>
                      <a:pt x="576" y="536"/>
                    </a:lnTo>
                    <a:lnTo>
                      <a:pt x="576" y="42"/>
                    </a:lnTo>
                    <a:lnTo>
                      <a:pt x="576" y="42"/>
                    </a:lnTo>
                    <a:lnTo>
                      <a:pt x="576" y="34"/>
                    </a:lnTo>
                    <a:lnTo>
                      <a:pt x="572" y="26"/>
                    </a:lnTo>
                    <a:lnTo>
                      <a:pt x="568" y="20"/>
                    </a:lnTo>
                    <a:lnTo>
                      <a:pt x="564" y="12"/>
                    </a:lnTo>
                    <a:lnTo>
                      <a:pt x="558" y="8"/>
                    </a:lnTo>
                    <a:lnTo>
                      <a:pt x="550" y="4"/>
                    </a:lnTo>
                    <a:lnTo>
                      <a:pt x="542" y="2"/>
                    </a:lnTo>
                    <a:lnTo>
                      <a:pt x="534" y="0"/>
                    </a:lnTo>
                    <a:lnTo>
                      <a:pt x="534" y="0"/>
                    </a:lnTo>
                    <a:close/>
                  </a:path>
                </a:pathLst>
              </a:custGeom>
              <a:solidFill>
                <a:srgbClr val="00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0" name="Freeform 27">
                <a:extLst>
                  <a:ext uri="{FF2B5EF4-FFF2-40B4-BE49-F238E27FC236}">
                    <a16:creationId xmlns:a16="http://schemas.microsoft.com/office/drawing/2014/main" id="{08D8432C-94D0-9BCD-4AE6-E5CE2D70EEE0}"/>
                  </a:ext>
                </a:extLst>
              </p:cNvPr>
              <p:cNvSpPr>
                <a:spLocks noEditPoints="1"/>
              </p:cNvSpPr>
              <p:nvPr/>
            </p:nvSpPr>
            <p:spPr bwMode="auto">
              <a:xfrm>
                <a:off x="3251200" y="3097213"/>
                <a:ext cx="158750" cy="654050"/>
              </a:xfrm>
              <a:custGeom>
                <a:avLst/>
                <a:gdLst>
                  <a:gd name="T0" fmla="*/ 8 w 100"/>
                  <a:gd name="T1" fmla="*/ 136 h 412"/>
                  <a:gd name="T2" fmla="*/ 92 w 100"/>
                  <a:gd name="T3" fmla="*/ 136 h 412"/>
                  <a:gd name="T4" fmla="*/ 92 w 100"/>
                  <a:gd name="T5" fmla="*/ 412 h 412"/>
                  <a:gd name="T6" fmla="*/ 8 w 100"/>
                  <a:gd name="T7" fmla="*/ 412 h 412"/>
                  <a:gd name="T8" fmla="*/ 8 w 100"/>
                  <a:gd name="T9" fmla="*/ 136 h 412"/>
                  <a:gd name="T10" fmla="*/ 8 w 100"/>
                  <a:gd name="T11" fmla="*/ 136 h 412"/>
                  <a:gd name="T12" fmla="*/ 50 w 100"/>
                  <a:gd name="T13" fmla="*/ 0 h 412"/>
                  <a:gd name="T14" fmla="*/ 50 w 100"/>
                  <a:gd name="T15" fmla="*/ 0 h 412"/>
                  <a:gd name="T16" fmla="*/ 60 w 100"/>
                  <a:gd name="T17" fmla="*/ 2 h 412"/>
                  <a:gd name="T18" fmla="*/ 70 w 100"/>
                  <a:gd name="T19" fmla="*/ 4 h 412"/>
                  <a:gd name="T20" fmla="*/ 78 w 100"/>
                  <a:gd name="T21" fmla="*/ 8 h 412"/>
                  <a:gd name="T22" fmla="*/ 86 w 100"/>
                  <a:gd name="T23" fmla="*/ 14 h 412"/>
                  <a:gd name="T24" fmla="*/ 92 w 100"/>
                  <a:gd name="T25" fmla="*/ 22 h 412"/>
                  <a:gd name="T26" fmla="*/ 96 w 100"/>
                  <a:gd name="T27" fmla="*/ 30 h 412"/>
                  <a:gd name="T28" fmla="*/ 98 w 100"/>
                  <a:gd name="T29" fmla="*/ 40 h 412"/>
                  <a:gd name="T30" fmla="*/ 100 w 100"/>
                  <a:gd name="T31" fmla="*/ 50 h 412"/>
                  <a:gd name="T32" fmla="*/ 100 w 100"/>
                  <a:gd name="T33" fmla="*/ 50 h 412"/>
                  <a:gd name="T34" fmla="*/ 98 w 100"/>
                  <a:gd name="T35" fmla="*/ 60 h 412"/>
                  <a:gd name="T36" fmla="*/ 96 w 100"/>
                  <a:gd name="T37" fmla="*/ 68 h 412"/>
                  <a:gd name="T38" fmla="*/ 92 w 100"/>
                  <a:gd name="T39" fmla="*/ 78 h 412"/>
                  <a:gd name="T40" fmla="*/ 86 w 100"/>
                  <a:gd name="T41" fmla="*/ 84 h 412"/>
                  <a:gd name="T42" fmla="*/ 78 w 100"/>
                  <a:gd name="T43" fmla="*/ 90 h 412"/>
                  <a:gd name="T44" fmla="*/ 70 w 100"/>
                  <a:gd name="T45" fmla="*/ 96 h 412"/>
                  <a:gd name="T46" fmla="*/ 60 w 100"/>
                  <a:gd name="T47" fmla="*/ 98 h 412"/>
                  <a:gd name="T48" fmla="*/ 50 w 100"/>
                  <a:gd name="T49" fmla="*/ 100 h 412"/>
                  <a:gd name="T50" fmla="*/ 50 w 100"/>
                  <a:gd name="T51" fmla="*/ 100 h 412"/>
                  <a:gd name="T52" fmla="*/ 40 w 100"/>
                  <a:gd name="T53" fmla="*/ 98 h 412"/>
                  <a:gd name="T54" fmla="*/ 30 w 100"/>
                  <a:gd name="T55" fmla="*/ 96 h 412"/>
                  <a:gd name="T56" fmla="*/ 22 w 100"/>
                  <a:gd name="T57" fmla="*/ 90 h 412"/>
                  <a:gd name="T58" fmla="*/ 16 w 100"/>
                  <a:gd name="T59" fmla="*/ 84 h 412"/>
                  <a:gd name="T60" fmla="*/ 10 w 100"/>
                  <a:gd name="T61" fmla="*/ 78 h 412"/>
                  <a:gd name="T62" fmla="*/ 4 w 100"/>
                  <a:gd name="T63" fmla="*/ 68 h 412"/>
                  <a:gd name="T64" fmla="*/ 2 w 100"/>
                  <a:gd name="T65" fmla="*/ 60 h 412"/>
                  <a:gd name="T66" fmla="*/ 0 w 100"/>
                  <a:gd name="T67" fmla="*/ 50 h 412"/>
                  <a:gd name="T68" fmla="*/ 0 w 100"/>
                  <a:gd name="T69" fmla="*/ 50 h 412"/>
                  <a:gd name="T70" fmla="*/ 2 w 100"/>
                  <a:gd name="T71" fmla="*/ 40 h 412"/>
                  <a:gd name="T72" fmla="*/ 4 w 100"/>
                  <a:gd name="T73" fmla="*/ 30 h 412"/>
                  <a:gd name="T74" fmla="*/ 10 w 100"/>
                  <a:gd name="T75" fmla="*/ 22 h 412"/>
                  <a:gd name="T76" fmla="*/ 16 w 100"/>
                  <a:gd name="T77" fmla="*/ 14 h 412"/>
                  <a:gd name="T78" fmla="*/ 22 w 100"/>
                  <a:gd name="T79" fmla="*/ 8 h 412"/>
                  <a:gd name="T80" fmla="*/ 30 w 100"/>
                  <a:gd name="T81" fmla="*/ 4 h 412"/>
                  <a:gd name="T82" fmla="*/ 40 w 100"/>
                  <a:gd name="T83" fmla="*/ 2 h 412"/>
                  <a:gd name="T84" fmla="*/ 50 w 100"/>
                  <a:gd name="T8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412">
                    <a:moveTo>
                      <a:pt x="8" y="136"/>
                    </a:moveTo>
                    <a:lnTo>
                      <a:pt x="92" y="136"/>
                    </a:lnTo>
                    <a:lnTo>
                      <a:pt x="92" y="412"/>
                    </a:lnTo>
                    <a:lnTo>
                      <a:pt x="8" y="412"/>
                    </a:lnTo>
                    <a:lnTo>
                      <a:pt x="8" y="136"/>
                    </a:lnTo>
                    <a:lnTo>
                      <a:pt x="8" y="136"/>
                    </a:lnTo>
                    <a:close/>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1" name="Freeform 28">
                <a:extLst>
                  <a:ext uri="{FF2B5EF4-FFF2-40B4-BE49-F238E27FC236}">
                    <a16:creationId xmlns:a16="http://schemas.microsoft.com/office/drawing/2014/main" id="{E85A5DCC-D1DB-4C4D-FDE5-21CD7E7EBA46}"/>
                  </a:ext>
                </a:extLst>
              </p:cNvPr>
              <p:cNvSpPr>
                <a:spLocks/>
              </p:cNvSpPr>
              <p:nvPr/>
            </p:nvSpPr>
            <p:spPr bwMode="auto">
              <a:xfrm>
                <a:off x="3263900" y="3313113"/>
                <a:ext cx="133350" cy="438150"/>
              </a:xfrm>
              <a:custGeom>
                <a:avLst/>
                <a:gdLst>
                  <a:gd name="T0" fmla="*/ 0 w 84"/>
                  <a:gd name="T1" fmla="*/ 0 h 276"/>
                  <a:gd name="T2" fmla="*/ 84 w 84"/>
                  <a:gd name="T3" fmla="*/ 0 h 276"/>
                  <a:gd name="T4" fmla="*/ 84 w 84"/>
                  <a:gd name="T5" fmla="*/ 276 h 276"/>
                  <a:gd name="T6" fmla="*/ 0 w 84"/>
                  <a:gd name="T7" fmla="*/ 276 h 276"/>
                  <a:gd name="T8" fmla="*/ 0 w 84"/>
                  <a:gd name="T9" fmla="*/ 0 h 276"/>
                  <a:gd name="T10" fmla="*/ 0 w 84"/>
                  <a:gd name="T11" fmla="*/ 0 h 276"/>
                </a:gdLst>
                <a:ahLst/>
                <a:cxnLst>
                  <a:cxn ang="0">
                    <a:pos x="T0" y="T1"/>
                  </a:cxn>
                  <a:cxn ang="0">
                    <a:pos x="T2" y="T3"/>
                  </a:cxn>
                  <a:cxn ang="0">
                    <a:pos x="T4" y="T5"/>
                  </a:cxn>
                  <a:cxn ang="0">
                    <a:pos x="T6" y="T7"/>
                  </a:cxn>
                  <a:cxn ang="0">
                    <a:pos x="T8" y="T9"/>
                  </a:cxn>
                  <a:cxn ang="0">
                    <a:pos x="T10" y="T11"/>
                  </a:cxn>
                </a:cxnLst>
                <a:rect l="0" t="0" r="r" b="b"/>
                <a:pathLst>
                  <a:path w="84" h="276">
                    <a:moveTo>
                      <a:pt x="0" y="0"/>
                    </a:moveTo>
                    <a:lnTo>
                      <a:pt x="84" y="0"/>
                    </a:lnTo>
                    <a:lnTo>
                      <a:pt x="84" y="276"/>
                    </a:lnTo>
                    <a:lnTo>
                      <a:pt x="0" y="27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2" name="Freeform 29">
                <a:extLst>
                  <a:ext uri="{FF2B5EF4-FFF2-40B4-BE49-F238E27FC236}">
                    <a16:creationId xmlns:a16="http://schemas.microsoft.com/office/drawing/2014/main" id="{9F5F09F4-DAB9-BA99-116D-FF7EECFBD4C8}"/>
                  </a:ext>
                </a:extLst>
              </p:cNvPr>
              <p:cNvSpPr>
                <a:spLocks/>
              </p:cNvSpPr>
              <p:nvPr/>
            </p:nvSpPr>
            <p:spPr bwMode="auto">
              <a:xfrm>
                <a:off x="3251200" y="3097213"/>
                <a:ext cx="158750" cy="158750"/>
              </a:xfrm>
              <a:custGeom>
                <a:avLst/>
                <a:gdLst>
                  <a:gd name="T0" fmla="*/ 50 w 100"/>
                  <a:gd name="T1" fmla="*/ 0 h 100"/>
                  <a:gd name="T2" fmla="*/ 50 w 100"/>
                  <a:gd name="T3" fmla="*/ 0 h 100"/>
                  <a:gd name="T4" fmla="*/ 60 w 100"/>
                  <a:gd name="T5" fmla="*/ 2 h 100"/>
                  <a:gd name="T6" fmla="*/ 70 w 100"/>
                  <a:gd name="T7" fmla="*/ 4 h 100"/>
                  <a:gd name="T8" fmla="*/ 78 w 100"/>
                  <a:gd name="T9" fmla="*/ 8 h 100"/>
                  <a:gd name="T10" fmla="*/ 86 w 100"/>
                  <a:gd name="T11" fmla="*/ 14 h 100"/>
                  <a:gd name="T12" fmla="*/ 92 w 100"/>
                  <a:gd name="T13" fmla="*/ 22 h 100"/>
                  <a:gd name="T14" fmla="*/ 96 w 100"/>
                  <a:gd name="T15" fmla="*/ 30 h 100"/>
                  <a:gd name="T16" fmla="*/ 98 w 100"/>
                  <a:gd name="T17" fmla="*/ 40 h 100"/>
                  <a:gd name="T18" fmla="*/ 100 w 100"/>
                  <a:gd name="T19" fmla="*/ 50 h 100"/>
                  <a:gd name="T20" fmla="*/ 100 w 100"/>
                  <a:gd name="T21" fmla="*/ 50 h 100"/>
                  <a:gd name="T22" fmla="*/ 98 w 100"/>
                  <a:gd name="T23" fmla="*/ 60 h 100"/>
                  <a:gd name="T24" fmla="*/ 96 w 100"/>
                  <a:gd name="T25" fmla="*/ 68 h 100"/>
                  <a:gd name="T26" fmla="*/ 92 w 100"/>
                  <a:gd name="T27" fmla="*/ 78 h 100"/>
                  <a:gd name="T28" fmla="*/ 86 w 100"/>
                  <a:gd name="T29" fmla="*/ 84 h 100"/>
                  <a:gd name="T30" fmla="*/ 78 w 100"/>
                  <a:gd name="T31" fmla="*/ 90 h 100"/>
                  <a:gd name="T32" fmla="*/ 70 w 100"/>
                  <a:gd name="T33" fmla="*/ 96 h 100"/>
                  <a:gd name="T34" fmla="*/ 60 w 100"/>
                  <a:gd name="T35" fmla="*/ 98 h 100"/>
                  <a:gd name="T36" fmla="*/ 50 w 100"/>
                  <a:gd name="T37" fmla="*/ 100 h 100"/>
                  <a:gd name="T38" fmla="*/ 50 w 100"/>
                  <a:gd name="T39" fmla="*/ 100 h 100"/>
                  <a:gd name="T40" fmla="*/ 40 w 100"/>
                  <a:gd name="T41" fmla="*/ 98 h 100"/>
                  <a:gd name="T42" fmla="*/ 30 w 100"/>
                  <a:gd name="T43" fmla="*/ 96 h 100"/>
                  <a:gd name="T44" fmla="*/ 22 w 100"/>
                  <a:gd name="T45" fmla="*/ 90 h 100"/>
                  <a:gd name="T46" fmla="*/ 16 w 100"/>
                  <a:gd name="T47" fmla="*/ 84 h 100"/>
                  <a:gd name="T48" fmla="*/ 10 w 100"/>
                  <a:gd name="T49" fmla="*/ 78 h 100"/>
                  <a:gd name="T50" fmla="*/ 4 w 100"/>
                  <a:gd name="T51" fmla="*/ 68 h 100"/>
                  <a:gd name="T52" fmla="*/ 2 w 100"/>
                  <a:gd name="T53" fmla="*/ 60 h 100"/>
                  <a:gd name="T54" fmla="*/ 0 w 100"/>
                  <a:gd name="T55" fmla="*/ 50 h 100"/>
                  <a:gd name="T56" fmla="*/ 0 w 100"/>
                  <a:gd name="T57" fmla="*/ 50 h 100"/>
                  <a:gd name="T58" fmla="*/ 2 w 100"/>
                  <a:gd name="T59" fmla="*/ 40 h 100"/>
                  <a:gd name="T60" fmla="*/ 4 w 100"/>
                  <a:gd name="T61" fmla="*/ 30 h 100"/>
                  <a:gd name="T62" fmla="*/ 10 w 100"/>
                  <a:gd name="T63" fmla="*/ 22 h 100"/>
                  <a:gd name="T64" fmla="*/ 16 w 100"/>
                  <a:gd name="T65" fmla="*/ 14 h 100"/>
                  <a:gd name="T66" fmla="*/ 22 w 100"/>
                  <a:gd name="T67" fmla="*/ 8 h 100"/>
                  <a:gd name="T68" fmla="*/ 30 w 100"/>
                  <a:gd name="T69" fmla="*/ 4 h 100"/>
                  <a:gd name="T70" fmla="*/ 40 w 100"/>
                  <a:gd name="T71" fmla="*/ 2 h 100"/>
                  <a:gd name="T72" fmla="*/ 50 w 100"/>
                  <a:gd name="T7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00">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3" name="Freeform 30">
                <a:extLst>
                  <a:ext uri="{FF2B5EF4-FFF2-40B4-BE49-F238E27FC236}">
                    <a16:creationId xmlns:a16="http://schemas.microsoft.com/office/drawing/2014/main" id="{F887687D-3B09-DD62-3C95-A5B062C219C2}"/>
                  </a:ext>
                </a:extLst>
              </p:cNvPr>
              <p:cNvSpPr>
                <a:spLocks/>
              </p:cNvSpPr>
              <p:nvPr/>
            </p:nvSpPr>
            <p:spPr bwMode="auto">
              <a:xfrm>
                <a:off x="3482975" y="3303588"/>
                <a:ext cx="422275" cy="447675"/>
              </a:xfrm>
              <a:custGeom>
                <a:avLst/>
                <a:gdLst>
                  <a:gd name="T0" fmla="*/ 0 w 266"/>
                  <a:gd name="T1" fmla="*/ 6 h 282"/>
                  <a:gd name="T2" fmla="*/ 82 w 266"/>
                  <a:gd name="T3" fmla="*/ 6 h 282"/>
                  <a:gd name="T4" fmla="*/ 82 w 266"/>
                  <a:gd name="T5" fmla="*/ 44 h 282"/>
                  <a:gd name="T6" fmla="*/ 84 w 266"/>
                  <a:gd name="T7" fmla="*/ 44 h 282"/>
                  <a:gd name="T8" fmla="*/ 84 w 266"/>
                  <a:gd name="T9" fmla="*/ 44 h 282"/>
                  <a:gd name="T10" fmla="*/ 88 w 266"/>
                  <a:gd name="T11" fmla="*/ 36 h 282"/>
                  <a:gd name="T12" fmla="*/ 96 w 266"/>
                  <a:gd name="T13" fmla="*/ 28 h 282"/>
                  <a:gd name="T14" fmla="*/ 104 w 266"/>
                  <a:gd name="T15" fmla="*/ 20 h 282"/>
                  <a:gd name="T16" fmla="*/ 112 w 266"/>
                  <a:gd name="T17" fmla="*/ 14 h 282"/>
                  <a:gd name="T18" fmla="*/ 124 w 266"/>
                  <a:gd name="T19" fmla="*/ 8 h 282"/>
                  <a:gd name="T20" fmla="*/ 136 w 266"/>
                  <a:gd name="T21" fmla="*/ 4 h 282"/>
                  <a:gd name="T22" fmla="*/ 150 w 266"/>
                  <a:gd name="T23" fmla="*/ 0 h 282"/>
                  <a:gd name="T24" fmla="*/ 164 w 266"/>
                  <a:gd name="T25" fmla="*/ 0 h 282"/>
                  <a:gd name="T26" fmla="*/ 164 w 266"/>
                  <a:gd name="T27" fmla="*/ 0 h 282"/>
                  <a:gd name="T28" fmla="*/ 180 w 266"/>
                  <a:gd name="T29" fmla="*/ 0 h 282"/>
                  <a:gd name="T30" fmla="*/ 194 w 266"/>
                  <a:gd name="T31" fmla="*/ 2 h 282"/>
                  <a:gd name="T32" fmla="*/ 206 w 266"/>
                  <a:gd name="T33" fmla="*/ 6 h 282"/>
                  <a:gd name="T34" fmla="*/ 216 w 266"/>
                  <a:gd name="T35" fmla="*/ 10 h 282"/>
                  <a:gd name="T36" fmla="*/ 226 w 266"/>
                  <a:gd name="T37" fmla="*/ 16 h 282"/>
                  <a:gd name="T38" fmla="*/ 234 w 266"/>
                  <a:gd name="T39" fmla="*/ 22 h 282"/>
                  <a:gd name="T40" fmla="*/ 242 w 266"/>
                  <a:gd name="T41" fmla="*/ 30 h 282"/>
                  <a:gd name="T42" fmla="*/ 248 w 266"/>
                  <a:gd name="T43" fmla="*/ 38 h 282"/>
                  <a:gd name="T44" fmla="*/ 254 w 266"/>
                  <a:gd name="T45" fmla="*/ 46 h 282"/>
                  <a:gd name="T46" fmla="*/ 258 w 266"/>
                  <a:gd name="T47" fmla="*/ 56 h 282"/>
                  <a:gd name="T48" fmla="*/ 262 w 266"/>
                  <a:gd name="T49" fmla="*/ 80 h 282"/>
                  <a:gd name="T50" fmla="*/ 266 w 266"/>
                  <a:gd name="T51" fmla="*/ 104 h 282"/>
                  <a:gd name="T52" fmla="*/ 266 w 266"/>
                  <a:gd name="T53" fmla="*/ 130 h 282"/>
                  <a:gd name="T54" fmla="*/ 266 w 266"/>
                  <a:gd name="T55" fmla="*/ 282 h 282"/>
                  <a:gd name="T56" fmla="*/ 182 w 266"/>
                  <a:gd name="T57" fmla="*/ 282 h 282"/>
                  <a:gd name="T58" fmla="*/ 182 w 266"/>
                  <a:gd name="T59" fmla="*/ 148 h 282"/>
                  <a:gd name="T60" fmla="*/ 182 w 266"/>
                  <a:gd name="T61" fmla="*/ 148 h 282"/>
                  <a:gd name="T62" fmla="*/ 180 w 266"/>
                  <a:gd name="T63" fmla="*/ 124 h 282"/>
                  <a:gd name="T64" fmla="*/ 178 w 266"/>
                  <a:gd name="T65" fmla="*/ 110 h 282"/>
                  <a:gd name="T66" fmla="*/ 176 w 266"/>
                  <a:gd name="T67" fmla="*/ 100 h 282"/>
                  <a:gd name="T68" fmla="*/ 170 w 266"/>
                  <a:gd name="T69" fmla="*/ 90 h 282"/>
                  <a:gd name="T70" fmla="*/ 162 w 266"/>
                  <a:gd name="T71" fmla="*/ 82 h 282"/>
                  <a:gd name="T72" fmla="*/ 152 w 266"/>
                  <a:gd name="T73" fmla="*/ 76 h 282"/>
                  <a:gd name="T74" fmla="*/ 138 w 266"/>
                  <a:gd name="T75" fmla="*/ 76 h 282"/>
                  <a:gd name="T76" fmla="*/ 138 w 266"/>
                  <a:gd name="T77" fmla="*/ 76 h 282"/>
                  <a:gd name="T78" fmla="*/ 122 w 266"/>
                  <a:gd name="T79" fmla="*/ 76 h 282"/>
                  <a:gd name="T80" fmla="*/ 110 w 266"/>
                  <a:gd name="T81" fmla="*/ 82 h 282"/>
                  <a:gd name="T82" fmla="*/ 102 w 266"/>
                  <a:gd name="T83" fmla="*/ 88 h 282"/>
                  <a:gd name="T84" fmla="*/ 94 w 266"/>
                  <a:gd name="T85" fmla="*/ 96 h 282"/>
                  <a:gd name="T86" fmla="*/ 90 w 266"/>
                  <a:gd name="T87" fmla="*/ 108 h 282"/>
                  <a:gd name="T88" fmla="*/ 88 w 266"/>
                  <a:gd name="T89" fmla="*/ 120 h 282"/>
                  <a:gd name="T90" fmla="*/ 86 w 266"/>
                  <a:gd name="T91" fmla="*/ 146 h 282"/>
                  <a:gd name="T92" fmla="*/ 86 w 266"/>
                  <a:gd name="T93" fmla="*/ 282 h 282"/>
                  <a:gd name="T94" fmla="*/ 0 w 266"/>
                  <a:gd name="T95" fmla="*/ 282 h 282"/>
                  <a:gd name="T96" fmla="*/ 0 w 266"/>
                  <a:gd name="T97" fmla="*/ 6 h 282"/>
                  <a:gd name="T98" fmla="*/ 0 w 266"/>
                  <a:gd name="T99"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82">
                    <a:moveTo>
                      <a:pt x="0" y="6"/>
                    </a:moveTo>
                    <a:lnTo>
                      <a:pt x="82" y="6"/>
                    </a:lnTo>
                    <a:lnTo>
                      <a:pt x="82" y="44"/>
                    </a:lnTo>
                    <a:lnTo>
                      <a:pt x="84" y="44"/>
                    </a:lnTo>
                    <a:lnTo>
                      <a:pt x="84" y="44"/>
                    </a:lnTo>
                    <a:lnTo>
                      <a:pt x="88" y="36"/>
                    </a:lnTo>
                    <a:lnTo>
                      <a:pt x="96" y="28"/>
                    </a:lnTo>
                    <a:lnTo>
                      <a:pt x="104" y="20"/>
                    </a:lnTo>
                    <a:lnTo>
                      <a:pt x="112" y="14"/>
                    </a:lnTo>
                    <a:lnTo>
                      <a:pt x="124" y="8"/>
                    </a:lnTo>
                    <a:lnTo>
                      <a:pt x="136" y="4"/>
                    </a:lnTo>
                    <a:lnTo>
                      <a:pt x="150" y="0"/>
                    </a:lnTo>
                    <a:lnTo>
                      <a:pt x="164" y="0"/>
                    </a:lnTo>
                    <a:lnTo>
                      <a:pt x="164" y="0"/>
                    </a:lnTo>
                    <a:lnTo>
                      <a:pt x="180" y="0"/>
                    </a:lnTo>
                    <a:lnTo>
                      <a:pt x="194" y="2"/>
                    </a:lnTo>
                    <a:lnTo>
                      <a:pt x="206" y="6"/>
                    </a:lnTo>
                    <a:lnTo>
                      <a:pt x="216" y="10"/>
                    </a:lnTo>
                    <a:lnTo>
                      <a:pt x="226" y="16"/>
                    </a:lnTo>
                    <a:lnTo>
                      <a:pt x="234" y="22"/>
                    </a:lnTo>
                    <a:lnTo>
                      <a:pt x="242" y="30"/>
                    </a:lnTo>
                    <a:lnTo>
                      <a:pt x="248" y="38"/>
                    </a:lnTo>
                    <a:lnTo>
                      <a:pt x="254" y="46"/>
                    </a:lnTo>
                    <a:lnTo>
                      <a:pt x="258" y="56"/>
                    </a:lnTo>
                    <a:lnTo>
                      <a:pt x="262" y="80"/>
                    </a:lnTo>
                    <a:lnTo>
                      <a:pt x="266" y="104"/>
                    </a:lnTo>
                    <a:lnTo>
                      <a:pt x="266" y="130"/>
                    </a:lnTo>
                    <a:lnTo>
                      <a:pt x="266" y="282"/>
                    </a:lnTo>
                    <a:lnTo>
                      <a:pt x="182" y="282"/>
                    </a:lnTo>
                    <a:lnTo>
                      <a:pt x="182" y="148"/>
                    </a:lnTo>
                    <a:lnTo>
                      <a:pt x="182" y="148"/>
                    </a:lnTo>
                    <a:lnTo>
                      <a:pt x="180" y="124"/>
                    </a:lnTo>
                    <a:lnTo>
                      <a:pt x="178" y="110"/>
                    </a:lnTo>
                    <a:lnTo>
                      <a:pt x="176" y="100"/>
                    </a:lnTo>
                    <a:lnTo>
                      <a:pt x="170" y="90"/>
                    </a:lnTo>
                    <a:lnTo>
                      <a:pt x="162" y="82"/>
                    </a:lnTo>
                    <a:lnTo>
                      <a:pt x="152" y="76"/>
                    </a:lnTo>
                    <a:lnTo>
                      <a:pt x="138" y="76"/>
                    </a:lnTo>
                    <a:lnTo>
                      <a:pt x="138" y="76"/>
                    </a:lnTo>
                    <a:lnTo>
                      <a:pt x="122" y="76"/>
                    </a:lnTo>
                    <a:lnTo>
                      <a:pt x="110" y="82"/>
                    </a:lnTo>
                    <a:lnTo>
                      <a:pt x="102" y="88"/>
                    </a:lnTo>
                    <a:lnTo>
                      <a:pt x="94" y="96"/>
                    </a:lnTo>
                    <a:lnTo>
                      <a:pt x="90" y="108"/>
                    </a:lnTo>
                    <a:lnTo>
                      <a:pt x="88" y="120"/>
                    </a:lnTo>
                    <a:lnTo>
                      <a:pt x="86" y="146"/>
                    </a:lnTo>
                    <a:lnTo>
                      <a:pt x="86" y="282"/>
                    </a:lnTo>
                    <a:lnTo>
                      <a:pt x="0" y="282"/>
                    </a:lnTo>
                    <a:lnTo>
                      <a:pt x="0"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pic>
          <p:nvPicPr>
            <p:cNvPr id="8" name="Graphic 7">
              <a:extLst>
                <a:ext uri="{FF2B5EF4-FFF2-40B4-BE49-F238E27FC236}">
                  <a16:creationId xmlns:a16="http://schemas.microsoft.com/office/drawing/2014/main" id="{DFEC0792-81B2-FD7D-1FE3-C085FDBB78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97577" y="5207799"/>
              <a:ext cx="388800" cy="388800"/>
            </a:xfrm>
            <a:prstGeom prst="rect">
              <a:avLst/>
            </a:prstGeom>
          </p:spPr>
        </p:pic>
      </p:grpSp>
    </p:spTree>
    <p:extLst>
      <p:ext uri="{BB962C8B-B14F-4D97-AF65-F5344CB8AC3E}">
        <p14:creationId xmlns:p14="http://schemas.microsoft.com/office/powerpoint/2010/main" val="614603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3D335AFA-79EF-48E7-9FDA-A8FCF952D278}"/>
              </a:ext>
            </a:extLst>
          </p:cNvPr>
          <p:cNvSpPr txBox="1"/>
          <p:nvPr userDrawn="1">
            <p:custDataLst>
              <p:tags r:id="rId1"/>
            </p:custDataLst>
          </p:nvPr>
        </p:nvSpPr>
        <p:spPr>
          <a:xfrm>
            <a:off x="749551" y="4238700"/>
            <a:ext cx="2055050" cy="115416"/>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750" b="1" kern="1200" noProof="0" dirty="0">
                <a:solidFill>
                  <a:schemeClr val="tx2"/>
                </a:solidFill>
                <a:latin typeface="+mn-lt"/>
                <a:ea typeface="+mn-ea"/>
                <a:cs typeface="+mn-cs"/>
              </a:rPr>
              <a:t>Document Classification: KPMG Confidential</a:t>
            </a:r>
          </a:p>
        </p:txBody>
      </p:sp>
      <p:sp>
        <p:nvSpPr>
          <p:cNvPr id="22" name="Text Placeholder 2">
            <a:extLst>
              <a:ext uri="{FF2B5EF4-FFF2-40B4-BE49-F238E27FC236}">
                <a16:creationId xmlns:a16="http://schemas.microsoft.com/office/drawing/2014/main" id="{48703AF1-229E-4220-A6D7-6F1010E1F9DE}"/>
              </a:ext>
            </a:extLst>
          </p:cNvPr>
          <p:cNvSpPr>
            <a:spLocks noGrp="1"/>
          </p:cNvSpPr>
          <p:nvPr>
            <p:ph type="body" sz="quarter" idx="10"/>
          </p:nvPr>
        </p:nvSpPr>
        <p:spPr>
          <a:xfrm>
            <a:off x="749301" y="2740328"/>
            <a:ext cx="6255182" cy="1382316"/>
          </a:xfrm>
        </p:spPr>
        <p:txBody>
          <a:bodyPr anchor="b"/>
          <a:lstStyle>
            <a:lvl1pPr>
              <a:spcAft>
                <a:spcPts val="750"/>
              </a:spcAft>
              <a:defRPr sz="750" b="0">
                <a:solidFill>
                  <a:schemeClr val="tx2"/>
                </a:solidFill>
              </a:defRPr>
            </a:lvl1pPr>
            <a:lvl2pPr>
              <a:spcAft>
                <a:spcPts val="750"/>
              </a:spcAft>
              <a:defRPr sz="750" b="0">
                <a:solidFill>
                  <a:schemeClr val="tx2"/>
                </a:solidFill>
              </a:defRPr>
            </a:lvl2pPr>
          </a:lstStyle>
          <a:p>
            <a:pPr lvl="0"/>
            <a:r>
              <a:rPr lang="en-US"/>
              <a:t>Click to edit Master text styles</a:t>
            </a:r>
          </a:p>
          <a:p>
            <a:pPr lvl="1"/>
            <a:r>
              <a:rPr lang="en-US"/>
              <a:t>Second level</a:t>
            </a:r>
          </a:p>
        </p:txBody>
      </p:sp>
      <p:pic>
        <p:nvPicPr>
          <p:cNvPr id="17" name="Graphic 16">
            <a:extLst>
              <a:ext uri="{FF2B5EF4-FFF2-40B4-BE49-F238E27FC236}">
                <a16:creationId xmlns:a16="http://schemas.microsoft.com/office/drawing/2014/main" id="{C42B2CC1-3453-431E-BEB1-143BFA0FE5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9301" y="235079"/>
            <a:ext cx="786440" cy="237600"/>
          </a:xfrm>
          <a:prstGeom prst="rect">
            <a:avLst/>
          </a:prstGeom>
        </p:spPr>
      </p:pic>
      <p:sp>
        <p:nvSpPr>
          <p:cNvPr id="52" name="Text Placeholder 2">
            <a:extLst>
              <a:ext uri="{FF2B5EF4-FFF2-40B4-BE49-F238E27FC236}">
                <a16:creationId xmlns:a16="http://schemas.microsoft.com/office/drawing/2014/main" id="{D7A42A05-40D4-4F7B-970A-F6070CBF3EFF}"/>
              </a:ext>
            </a:extLst>
          </p:cNvPr>
          <p:cNvSpPr>
            <a:spLocks noGrp="1"/>
          </p:cNvSpPr>
          <p:nvPr>
            <p:ph type="body" sz="quarter" idx="14" hasCustomPrompt="1"/>
          </p:nvPr>
        </p:nvSpPr>
        <p:spPr>
          <a:xfrm>
            <a:off x="749301" y="2381219"/>
            <a:ext cx="2411738" cy="89298"/>
          </a:xfrm>
        </p:spPr>
        <p:txBody>
          <a:bodyPr/>
          <a:lstStyle>
            <a:lvl1pPr>
              <a:buFontTx/>
              <a:buNone/>
              <a:defRPr sz="825" b="1">
                <a:solidFill>
                  <a:schemeClr val="bg1"/>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r>
              <a:rPr lang="en-GB" dirty="0"/>
              <a:t>kpmg.com/</a:t>
            </a:r>
            <a:r>
              <a:rPr lang="en-GB" dirty="0" err="1"/>
              <a:t>cn</a:t>
            </a:r>
            <a:r>
              <a:rPr lang="en-GB" dirty="0"/>
              <a:t>/</a:t>
            </a:r>
            <a:r>
              <a:rPr lang="en-GB" dirty="0" err="1"/>
              <a:t>socialmedia</a:t>
            </a:r>
            <a:endParaRPr lang="en-GB" dirty="0"/>
          </a:p>
        </p:txBody>
      </p:sp>
      <p:grpSp>
        <p:nvGrpSpPr>
          <p:cNvPr id="2" name="Group 1">
            <a:extLst>
              <a:ext uri="{FF2B5EF4-FFF2-40B4-BE49-F238E27FC236}">
                <a16:creationId xmlns:a16="http://schemas.microsoft.com/office/drawing/2014/main" id="{BA9FA6E0-6634-9A2F-16A7-63238C5F47BE}"/>
              </a:ext>
            </a:extLst>
          </p:cNvPr>
          <p:cNvGrpSpPr/>
          <p:nvPr userDrawn="1"/>
        </p:nvGrpSpPr>
        <p:grpSpPr>
          <a:xfrm>
            <a:off x="749808" y="1968246"/>
            <a:ext cx="2531496" cy="301869"/>
            <a:chOff x="369827" y="5202238"/>
            <a:chExt cx="2531496" cy="402492"/>
          </a:xfrm>
        </p:grpSpPr>
        <p:grpSp>
          <p:nvGrpSpPr>
            <p:cNvPr id="3" name="Group 2">
              <a:extLst>
                <a:ext uri="{FF2B5EF4-FFF2-40B4-BE49-F238E27FC236}">
                  <a16:creationId xmlns:a16="http://schemas.microsoft.com/office/drawing/2014/main" id="{580AC70B-D509-7631-1C2B-AC2FBD369B16}"/>
                </a:ext>
              </a:extLst>
            </p:cNvPr>
            <p:cNvGrpSpPr/>
            <p:nvPr/>
          </p:nvGrpSpPr>
          <p:grpSpPr>
            <a:xfrm>
              <a:off x="2498831" y="5202238"/>
              <a:ext cx="402492" cy="402492"/>
              <a:chOff x="8115300" y="2960688"/>
              <a:chExt cx="942975" cy="942975"/>
            </a:xfrm>
          </p:grpSpPr>
          <p:pic>
            <p:nvPicPr>
              <p:cNvPr id="36" name="Picture 5">
                <a:extLst>
                  <a:ext uri="{FF2B5EF4-FFF2-40B4-BE49-F238E27FC236}">
                    <a16:creationId xmlns:a16="http://schemas.microsoft.com/office/drawing/2014/main" id="{DBD8F70A-1B60-05E5-2CB0-05271AD45454}"/>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15300" y="2960688"/>
                <a:ext cx="9429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Freeform 40">
                <a:extLst>
                  <a:ext uri="{FF2B5EF4-FFF2-40B4-BE49-F238E27FC236}">
                    <a16:creationId xmlns:a16="http://schemas.microsoft.com/office/drawing/2014/main" id="{0C05A95C-D7D7-4CB4-EEB0-2C0D89FF4CAD}"/>
                  </a:ext>
                </a:extLst>
              </p:cNvPr>
              <p:cNvSpPr>
                <a:spLocks noEditPoints="1"/>
              </p:cNvSpPr>
              <p:nvPr/>
            </p:nvSpPr>
            <p:spPr bwMode="auto">
              <a:xfrm>
                <a:off x="8289925" y="3201988"/>
                <a:ext cx="593725" cy="450850"/>
              </a:xfrm>
              <a:custGeom>
                <a:avLst/>
                <a:gdLst>
                  <a:gd name="T0" fmla="*/ 318 w 374"/>
                  <a:gd name="T1" fmla="*/ 0 h 284"/>
                  <a:gd name="T2" fmla="*/ 56 w 374"/>
                  <a:gd name="T3" fmla="*/ 0 h 284"/>
                  <a:gd name="T4" fmla="*/ 56 w 374"/>
                  <a:gd name="T5" fmla="*/ 0 h 284"/>
                  <a:gd name="T6" fmla="*/ 44 w 374"/>
                  <a:gd name="T7" fmla="*/ 2 h 284"/>
                  <a:gd name="T8" fmla="*/ 34 w 374"/>
                  <a:gd name="T9" fmla="*/ 4 h 284"/>
                  <a:gd name="T10" fmla="*/ 24 w 374"/>
                  <a:gd name="T11" fmla="*/ 10 h 284"/>
                  <a:gd name="T12" fmla="*/ 16 w 374"/>
                  <a:gd name="T13" fmla="*/ 16 h 284"/>
                  <a:gd name="T14" fmla="*/ 8 w 374"/>
                  <a:gd name="T15" fmla="*/ 24 h 284"/>
                  <a:gd name="T16" fmla="*/ 4 w 374"/>
                  <a:gd name="T17" fmla="*/ 34 h 284"/>
                  <a:gd name="T18" fmla="*/ 0 w 374"/>
                  <a:gd name="T19" fmla="*/ 44 h 284"/>
                  <a:gd name="T20" fmla="*/ 0 w 374"/>
                  <a:gd name="T21" fmla="*/ 56 h 284"/>
                  <a:gd name="T22" fmla="*/ 0 w 374"/>
                  <a:gd name="T23" fmla="*/ 228 h 284"/>
                  <a:gd name="T24" fmla="*/ 0 w 374"/>
                  <a:gd name="T25" fmla="*/ 228 h 284"/>
                  <a:gd name="T26" fmla="*/ 0 w 374"/>
                  <a:gd name="T27" fmla="*/ 240 h 284"/>
                  <a:gd name="T28" fmla="*/ 4 w 374"/>
                  <a:gd name="T29" fmla="*/ 250 h 284"/>
                  <a:gd name="T30" fmla="*/ 8 w 374"/>
                  <a:gd name="T31" fmla="*/ 260 h 284"/>
                  <a:gd name="T32" fmla="*/ 16 w 374"/>
                  <a:gd name="T33" fmla="*/ 268 h 284"/>
                  <a:gd name="T34" fmla="*/ 24 w 374"/>
                  <a:gd name="T35" fmla="*/ 274 h 284"/>
                  <a:gd name="T36" fmla="*/ 34 w 374"/>
                  <a:gd name="T37" fmla="*/ 280 h 284"/>
                  <a:gd name="T38" fmla="*/ 44 w 374"/>
                  <a:gd name="T39" fmla="*/ 282 h 284"/>
                  <a:gd name="T40" fmla="*/ 56 w 374"/>
                  <a:gd name="T41" fmla="*/ 284 h 284"/>
                  <a:gd name="T42" fmla="*/ 318 w 374"/>
                  <a:gd name="T43" fmla="*/ 284 h 284"/>
                  <a:gd name="T44" fmla="*/ 318 w 374"/>
                  <a:gd name="T45" fmla="*/ 284 h 284"/>
                  <a:gd name="T46" fmla="*/ 330 w 374"/>
                  <a:gd name="T47" fmla="*/ 282 h 284"/>
                  <a:gd name="T48" fmla="*/ 340 w 374"/>
                  <a:gd name="T49" fmla="*/ 280 h 284"/>
                  <a:gd name="T50" fmla="*/ 350 w 374"/>
                  <a:gd name="T51" fmla="*/ 274 h 284"/>
                  <a:gd name="T52" fmla="*/ 358 w 374"/>
                  <a:gd name="T53" fmla="*/ 268 h 284"/>
                  <a:gd name="T54" fmla="*/ 364 w 374"/>
                  <a:gd name="T55" fmla="*/ 260 h 284"/>
                  <a:gd name="T56" fmla="*/ 370 w 374"/>
                  <a:gd name="T57" fmla="*/ 250 h 284"/>
                  <a:gd name="T58" fmla="*/ 372 w 374"/>
                  <a:gd name="T59" fmla="*/ 240 h 284"/>
                  <a:gd name="T60" fmla="*/ 374 w 374"/>
                  <a:gd name="T61" fmla="*/ 228 h 284"/>
                  <a:gd name="T62" fmla="*/ 374 w 374"/>
                  <a:gd name="T63" fmla="*/ 56 h 284"/>
                  <a:gd name="T64" fmla="*/ 374 w 374"/>
                  <a:gd name="T65" fmla="*/ 56 h 284"/>
                  <a:gd name="T66" fmla="*/ 372 w 374"/>
                  <a:gd name="T67" fmla="*/ 44 h 284"/>
                  <a:gd name="T68" fmla="*/ 370 w 374"/>
                  <a:gd name="T69" fmla="*/ 34 h 284"/>
                  <a:gd name="T70" fmla="*/ 364 w 374"/>
                  <a:gd name="T71" fmla="*/ 24 h 284"/>
                  <a:gd name="T72" fmla="*/ 358 w 374"/>
                  <a:gd name="T73" fmla="*/ 16 h 284"/>
                  <a:gd name="T74" fmla="*/ 350 w 374"/>
                  <a:gd name="T75" fmla="*/ 10 h 284"/>
                  <a:gd name="T76" fmla="*/ 340 w 374"/>
                  <a:gd name="T77" fmla="*/ 4 h 284"/>
                  <a:gd name="T78" fmla="*/ 330 w 374"/>
                  <a:gd name="T79" fmla="*/ 2 h 284"/>
                  <a:gd name="T80" fmla="*/ 318 w 374"/>
                  <a:gd name="T81" fmla="*/ 0 h 284"/>
                  <a:gd name="T82" fmla="*/ 318 w 374"/>
                  <a:gd name="T83" fmla="*/ 0 h 284"/>
                  <a:gd name="T84" fmla="*/ 132 w 374"/>
                  <a:gd name="T85" fmla="*/ 204 h 284"/>
                  <a:gd name="T86" fmla="*/ 132 w 374"/>
                  <a:gd name="T87" fmla="*/ 80 h 284"/>
                  <a:gd name="T88" fmla="*/ 240 w 374"/>
                  <a:gd name="T89" fmla="*/ 142 h 284"/>
                  <a:gd name="T90" fmla="*/ 132 w 374"/>
                  <a:gd name="T91" fmla="*/ 204 h 284"/>
                  <a:gd name="T92" fmla="*/ 132 w 374"/>
                  <a:gd name="T93"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4" h="284">
                    <a:moveTo>
                      <a:pt x="318" y="0"/>
                    </a:moveTo>
                    <a:lnTo>
                      <a:pt x="56" y="0"/>
                    </a:lnTo>
                    <a:lnTo>
                      <a:pt x="56" y="0"/>
                    </a:lnTo>
                    <a:lnTo>
                      <a:pt x="44" y="2"/>
                    </a:lnTo>
                    <a:lnTo>
                      <a:pt x="34" y="4"/>
                    </a:lnTo>
                    <a:lnTo>
                      <a:pt x="24" y="10"/>
                    </a:lnTo>
                    <a:lnTo>
                      <a:pt x="16" y="16"/>
                    </a:lnTo>
                    <a:lnTo>
                      <a:pt x="8" y="24"/>
                    </a:lnTo>
                    <a:lnTo>
                      <a:pt x="4" y="34"/>
                    </a:lnTo>
                    <a:lnTo>
                      <a:pt x="0" y="44"/>
                    </a:lnTo>
                    <a:lnTo>
                      <a:pt x="0" y="56"/>
                    </a:lnTo>
                    <a:lnTo>
                      <a:pt x="0" y="228"/>
                    </a:lnTo>
                    <a:lnTo>
                      <a:pt x="0" y="228"/>
                    </a:lnTo>
                    <a:lnTo>
                      <a:pt x="0" y="240"/>
                    </a:lnTo>
                    <a:lnTo>
                      <a:pt x="4" y="250"/>
                    </a:lnTo>
                    <a:lnTo>
                      <a:pt x="8" y="260"/>
                    </a:lnTo>
                    <a:lnTo>
                      <a:pt x="16" y="268"/>
                    </a:lnTo>
                    <a:lnTo>
                      <a:pt x="24" y="274"/>
                    </a:lnTo>
                    <a:lnTo>
                      <a:pt x="34" y="280"/>
                    </a:lnTo>
                    <a:lnTo>
                      <a:pt x="44" y="282"/>
                    </a:lnTo>
                    <a:lnTo>
                      <a:pt x="56" y="284"/>
                    </a:lnTo>
                    <a:lnTo>
                      <a:pt x="318" y="284"/>
                    </a:lnTo>
                    <a:lnTo>
                      <a:pt x="318" y="284"/>
                    </a:lnTo>
                    <a:lnTo>
                      <a:pt x="330" y="282"/>
                    </a:lnTo>
                    <a:lnTo>
                      <a:pt x="340" y="280"/>
                    </a:lnTo>
                    <a:lnTo>
                      <a:pt x="350" y="274"/>
                    </a:lnTo>
                    <a:lnTo>
                      <a:pt x="358" y="268"/>
                    </a:lnTo>
                    <a:lnTo>
                      <a:pt x="364" y="260"/>
                    </a:lnTo>
                    <a:lnTo>
                      <a:pt x="370" y="250"/>
                    </a:lnTo>
                    <a:lnTo>
                      <a:pt x="372" y="240"/>
                    </a:lnTo>
                    <a:lnTo>
                      <a:pt x="374" y="228"/>
                    </a:lnTo>
                    <a:lnTo>
                      <a:pt x="374" y="56"/>
                    </a:lnTo>
                    <a:lnTo>
                      <a:pt x="374" y="56"/>
                    </a:lnTo>
                    <a:lnTo>
                      <a:pt x="372" y="44"/>
                    </a:lnTo>
                    <a:lnTo>
                      <a:pt x="370" y="34"/>
                    </a:lnTo>
                    <a:lnTo>
                      <a:pt x="364" y="24"/>
                    </a:lnTo>
                    <a:lnTo>
                      <a:pt x="358" y="16"/>
                    </a:lnTo>
                    <a:lnTo>
                      <a:pt x="350" y="10"/>
                    </a:lnTo>
                    <a:lnTo>
                      <a:pt x="340" y="4"/>
                    </a:lnTo>
                    <a:lnTo>
                      <a:pt x="330" y="2"/>
                    </a:lnTo>
                    <a:lnTo>
                      <a:pt x="318" y="0"/>
                    </a:lnTo>
                    <a:lnTo>
                      <a:pt x="318" y="0"/>
                    </a:lnTo>
                    <a:close/>
                    <a:moveTo>
                      <a:pt x="132" y="204"/>
                    </a:moveTo>
                    <a:lnTo>
                      <a:pt x="132" y="80"/>
                    </a:lnTo>
                    <a:lnTo>
                      <a:pt x="240" y="142"/>
                    </a:lnTo>
                    <a:lnTo>
                      <a:pt x="132" y="204"/>
                    </a:lnTo>
                    <a:lnTo>
                      <a:pt x="13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4" name="Group 3">
              <a:extLst>
                <a:ext uri="{FF2B5EF4-FFF2-40B4-BE49-F238E27FC236}">
                  <a16:creationId xmlns:a16="http://schemas.microsoft.com/office/drawing/2014/main" id="{46514F55-4A14-0070-129F-5BC9E18370F3}"/>
                </a:ext>
              </a:extLst>
            </p:cNvPr>
            <p:cNvGrpSpPr/>
            <p:nvPr/>
          </p:nvGrpSpPr>
          <p:grpSpPr>
            <a:xfrm>
              <a:off x="2077367" y="5206304"/>
              <a:ext cx="390295" cy="390295"/>
              <a:chOff x="7127875" y="2970213"/>
              <a:chExt cx="914400" cy="914400"/>
            </a:xfrm>
          </p:grpSpPr>
          <p:sp>
            <p:nvSpPr>
              <p:cNvPr id="34" name="Freeform 37">
                <a:extLst>
                  <a:ext uri="{FF2B5EF4-FFF2-40B4-BE49-F238E27FC236}">
                    <a16:creationId xmlns:a16="http://schemas.microsoft.com/office/drawing/2014/main" id="{19EC1905-52E1-BDF4-2E8D-F6B7B4870AFC}"/>
                  </a:ext>
                </a:extLst>
              </p:cNvPr>
              <p:cNvSpPr>
                <a:spLocks/>
              </p:cNvSpPr>
              <p:nvPr/>
            </p:nvSpPr>
            <p:spPr bwMode="auto">
              <a:xfrm>
                <a:off x="7127875"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4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4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4" y="20"/>
                    </a:lnTo>
                    <a:lnTo>
                      <a:pt x="2" y="26"/>
                    </a:lnTo>
                    <a:lnTo>
                      <a:pt x="0" y="32"/>
                    </a:lnTo>
                    <a:lnTo>
                      <a:pt x="0" y="544"/>
                    </a:lnTo>
                    <a:lnTo>
                      <a:pt x="0" y="544"/>
                    </a:lnTo>
                    <a:lnTo>
                      <a:pt x="2" y="552"/>
                    </a:lnTo>
                    <a:lnTo>
                      <a:pt x="4" y="558"/>
                    </a:lnTo>
                    <a:lnTo>
                      <a:pt x="10" y="568"/>
                    </a:lnTo>
                    <a:lnTo>
                      <a:pt x="20" y="574"/>
                    </a:lnTo>
                    <a:lnTo>
                      <a:pt x="26" y="576"/>
                    </a:lnTo>
                    <a:lnTo>
                      <a:pt x="32" y="576"/>
                    </a:lnTo>
                    <a:lnTo>
                      <a:pt x="544" y="576"/>
                    </a:lnTo>
                    <a:lnTo>
                      <a:pt x="544" y="576"/>
                    </a:lnTo>
                    <a:close/>
                  </a:path>
                </a:pathLst>
              </a:custGeom>
              <a:solidFill>
                <a:srgbClr val="E52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35" name="Freeform 38">
                <a:extLst>
                  <a:ext uri="{FF2B5EF4-FFF2-40B4-BE49-F238E27FC236}">
                    <a16:creationId xmlns:a16="http://schemas.microsoft.com/office/drawing/2014/main" id="{01B96457-8B13-002C-47E5-8F44A20D4722}"/>
                  </a:ext>
                </a:extLst>
              </p:cNvPr>
              <p:cNvSpPr>
                <a:spLocks noEditPoints="1"/>
              </p:cNvSpPr>
              <p:nvPr/>
            </p:nvSpPr>
            <p:spPr bwMode="auto">
              <a:xfrm>
                <a:off x="7248525" y="3141663"/>
                <a:ext cx="679450" cy="552450"/>
              </a:xfrm>
              <a:custGeom>
                <a:avLst/>
                <a:gdLst>
                  <a:gd name="T0" fmla="*/ 298 w 428"/>
                  <a:gd name="T1" fmla="*/ 62 h 348"/>
                  <a:gd name="T2" fmla="*/ 348 w 428"/>
                  <a:gd name="T3" fmla="*/ 70 h 348"/>
                  <a:gd name="T4" fmla="*/ 370 w 428"/>
                  <a:gd name="T5" fmla="*/ 116 h 348"/>
                  <a:gd name="T6" fmla="*/ 354 w 428"/>
                  <a:gd name="T7" fmla="*/ 142 h 348"/>
                  <a:gd name="T8" fmla="*/ 340 w 428"/>
                  <a:gd name="T9" fmla="*/ 128 h 348"/>
                  <a:gd name="T10" fmla="*/ 334 w 428"/>
                  <a:gd name="T11" fmla="*/ 96 h 348"/>
                  <a:gd name="T12" fmla="*/ 306 w 428"/>
                  <a:gd name="T13" fmla="*/ 88 h 348"/>
                  <a:gd name="T14" fmla="*/ 292 w 428"/>
                  <a:gd name="T15" fmla="*/ 78 h 348"/>
                  <a:gd name="T16" fmla="*/ 280 w 428"/>
                  <a:gd name="T17" fmla="*/ 10 h 348"/>
                  <a:gd name="T18" fmla="*/ 332 w 428"/>
                  <a:gd name="T19" fmla="*/ 2 h 348"/>
                  <a:gd name="T20" fmla="*/ 400 w 428"/>
                  <a:gd name="T21" fmla="*/ 38 h 348"/>
                  <a:gd name="T22" fmla="*/ 428 w 428"/>
                  <a:gd name="T23" fmla="*/ 116 h 348"/>
                  <a:gd name="T24" fmla="*/ 416 w 428"/>
                  <a:gd name="T25" fmla="*/ 160 h 348"/>
                  <a:gd name="T26" fmla="*/ 392 w 428"/>
                  <a:gd name="T27" fmla="*/ 152 h 348"/>
                  <a:gd name="T28" fmla="*/ 396 w 428"/>
                  <a:gd name="T29" fmla="*/ 116 h 348"/>
                  <a:gd name="T30" fmla="*/ 374 w 428"/>
                  <a:gd name="T31" fmla="*/ 60 h 348"/>
                  <a:gd name="T32" fmla="*/ 328 w 428"/>
                  <a:gd name="T33" fmla="*/ 34 h 348"/>
                  <a:gd name="T34" fmla="*/ 290 w 428"/>
                  <a:gd name="T35" fmla="*/ 36 h 348"/>
                  <a:gd name="T36" fmla="*/ 166 w 428"/>
                  <a:gd name="T37" fmla="*/ 238 h 348"/>
                  <a:gd name="T38" fmla="*/ 178 w 428"/>
                  <a:gd name="T39" fmla="*/ 244 h 348"/>
                  <a:gd name="T40" fmla="*/ 182 w 428"/>
                  <a:gd name="T41" fmla="*/ 230 h 348"/>
                  <a:gd name="T42" fmla="*/ 168 w 428"/>
                  <a:gd name="T43" fmla="*/ 232 h 348"/>
                  <a:gd name="T44" fmla="*/ 128 w 428"/>
                  <a:gd name="T45" fmla="*/ 278 h 348"/>
                  <a:gd name="T46" fmla="*/ 160 w 428"/>
                  <a:gd name="T47" fmla="*/ 268 h 348"/>
                  <a:gd name="T48" fmla="*/ 160 w 428"/>
                  <a:gd name="T49" fmla="*/ 244 h 348"/>
                  <a:gd name="T50" fmla="*/ 126 w 428"/>
                  <a:gd name="T51" fmla="*/ 244 h 348"/>
                  <a:gd name="T52" fmla="*/ 118 w 428"/>
                  <a:gd name="T53" fmla="*/ 266 h 348"/>
                  <a:gd name="T54" fmla="*/ 100 w 428"/>
                  <a:gd name="T55" fmla="*/ 228 h 348"/>
                  <a:gd name="T56" fmla="*/ 152 w 428"/>
                  <a:gd name="T57" fmla="*/ 190 h 348"/>
                  <a:gd name="T58" fmla="*/ 210 w 428"/>
                  <a:gd name="T59" fmla="*/ 200 h 348"/>
                  <a:gd name="T60" fmla="*/ 230 w 428"/>
                  <a:gd name="T61" fmla="*/ 252 h 348"/>
                  <a:gd name="T62" fmla="*/ 188 w 428"/>
                  <a:gd name="T63" fmla="*/ 300 h 348"/>
                  <a:gd name="T64" fmla="*/ 122 w 428"/>
                  <a:gd name="T65" fmla="*/ 298 h 348"/>
                  <a:gd name="T66" fmla="*/ 44 w 428"/>
                  <a:gd name="T67" fmla="*/ 260 h 348"/>
                  <a:gd name="T68" fmla="*/ 102 w 428"/>
                  <a:gd name="T69" fmla="*/ 314 h 348"/>
                  <a:gd name="T70" fmla="*/ 206 w 428"/>
                  <a:gd name="T71" fmla="*/ 320 h 348"/>
                  <a:gd name="T72" fmla="*/ 298 w 428"/>
                  <a:gd name="T73" fmla="*/ 248 h 348"/>
                  <a:gd name="T74" fmla="*/ 292 w 428"/>
                  <a:gd name="T75" fmla="*/ 202 h 348"/>
                  <a:gd name="T76" fmla="*/ 204 w 428"/>
                  <a:gd name="T77" fmla="*/ 154 h 348"/>
                  <a:gd name="T78" fmla="*/ 114 w 428"/>
                  <a:gd name="T79" fmla="*/ 166 h 348"/>
                  <a:gd name="T80" fmla="*/ 56 w 428"/>
                  <a:gd name="T81" fmla="*/ 208 h 348"/>
                  <a:gd name="T82" fmla="*/ 42 w 428"/>
                  <a:gd name="T83" fmla="*/ 252 h 348"/>
                  <a:gd name="T84" fmla="*/ 24 w 428"/>
                  <a:gd name="T85" fmla="*/ 162 h 348"/>
                  <a:gd name="T86" fmla="*/ 124 w 428"/>
                  <a:gd name="T87" fmla="*/ 68 h 348"/>
                  <a:gd name="T88" fmla="*/ 194 w 428"/>
                  <a:gd name="T89" fmla="*/ 52 h 348"/>
                  <a:gd name="T90" fmla="*/ 214 w 428"/>
                  <a:gd name="T91" fmla="*/ 84 h 348"/>
                  <a:gd name="T92" fmla="*/ 210 w 428"/>
                  <a:gd name="T93" fmla="*/ 116 h 348"/>
                  <a:gd name="T94" fmla="*/ 278 w 428"/>
                  <a:gd name="T95" fmla="*/ 100 h 348"/>
                  <a:gd name="T96" fmla="*/ 318 w 428"/>
                  <a:gd name="T97" fmla="*/ 124 h 348"/>
                  <a:gd name="T98" fmla="*/ 314 w 428"/>
                  <a:gd name="T99" fmla="*/ 164 h 348"/>
                  <a:gd name="T100" fmla="*/ 342 w 428"/>
                  <a:gd name="T101" fmla="*/ 176 h 348"/>
                  <a:gd name="T102" fmla="*/ 374 w 428"/>
                  <a:gd name="T103" fmla="*/ 228 h 348"/>
                  <a:gd name="T104" fmla="*/ 352 w 428"/>
                  <a:gd name="T105" fmla="*/ 280 h 348"/>
                  <a:gd name="T106" fmla="*/ 258 w 428"/>
                  <a:gd name="T107" fmla="*/ 338 h 348"/>
                  <a:gd name="T108" fmla="*/ 156 w 428"/>
                  <a:gd name="T109" fmla="*/ 348 h 348"/>
                  <a:gd name="T110" fmla="*/ 40 w 428"/>
                  <a:gd name="T111" fmla="*/ 308 h 348"/>
                  <a:gd name="T112" fmla="*/ 0 w 428"/>
                  <a:gd name="T113" fmla="*/ 23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348">
                    <a:moveTo>
                      <a:pt x="292" y="78"/>
                    </a:moveTo>
                    <a:lnTo>
                      <a:pt x="292" y="78"/>
                    </a:lnTo>
                    <a:lnTo>
                      <a:pt x="292" y="74"/>
                    </a:lnTo>
                    <a:lnTo>
                      <a:pt x="292" y="74"/>
                    </a:lnTo>
                    <a:lnTo>
                      <a:pt x="294" y="66"/>
                    </a:lnTo>
                    <a:lnTo>
                      <a:pt x="294" y="66"/>
                    </a:lnTo>
                    <a:lnTo>
                      <a:pt x="298" y="62"/>
                    </a:lnTo>
                    <a:lnTo>
                      <a:pt x="304" y="60"/>
                    </a:lnTo>
                    <a:lnTo>
                      <a:pt x="304" y="60"/>
                    </a:lnTo>
                    <a:lnTo>
                      <a:pt x="316" y="60"/>
                    </a:lnTo>
                    <a:lnTo>
                      <a:pt x="316" y="60"/>
                    </a:lnTo>
                    <a:lnTo>
                      <a:pt x="328" y="60"/>
                    </a:lnTo>
                    <a:lnTo>
                      <a:pt x="338" y="64"/>
                    </a:lnTo>
                    <a:lnTo>
                      <a:pt x="348" y="70"/>
                    </a:lnTo>
                    <a:lnTo>
                      <a:pt x="356" y="78"/>
                    </a:lnTo>
                    <a:lnTo>
                      <a:pt x="356" y="78"/>
                    </a:lnTo>
                    <a:lnTo>
                      <a:pt x="364" y="90"/>
                    </a:lnTo>
                    <a:lnTo>
                      <a:pt x="370" y="104"/>
                    </a:lnTo>
                    <a:lnTo>
                      <a:pt x="370" y="104"/>
                    </a:lnTo>
                    <a:lnTo>
                      <a:pt x="370" y="116"/>
                    </a:lnTo>
                    <a:lnTo>
                      <a:pt x="370" y="116"/>
                    </a:lnTo>
                    <a:lnTo>
                      <a:pt x="370" y="124"/>
                    </a:lnTo>
                    <a:lnTo>
                      <a:pt x="368" y="132"/>
                    </a:lnTo>
                    <a:lnTo>
                      <a:pt x="368" y="132"/>
                    </a:lnTo>
                    <a:lnTo>
                      <a:pt x="364" y="136"/>
                    </a:lnTo>
                    <a:lnTo>
                      <a:pt x="360" y="140"/>
                    </a:lnTo>
                    <a:lnTo>
                      <a:pt x="360" y="140"/>
                    </a:lnTo>
                    <a:lnTo>
                      <a:pt x="354" y="142"/>
                    </a:lnTo>
                    <a:lnTo>
                      <a:pt x="354" y="142"/>
                    </a:lnTo>
                    <a:lnTo>
                      <a:pt x="350" y="140"/>
                    </a:lnTo>
                    <a:lnTo>
                      <a:pt x="350" y="140"/>
                    </a:lnTo>
                    <a:lnTo>
                      <a:pt x="344" y="138"/>
                    </a:lnTo>
                    <a:lnTo>
                      <a:pt x="342" y="134"/>
                    </a:lnTo>
                    <a:lnTo>
                      <a:pt x="342" y="134"/>
                    </a:lnTo>
                    <a:lnTo>
                      <a:pt x="340" y="128"/>
                    </a:lnTo>
                    <a:lnTo>
                      <a:pt x="340" y="128"/>
                    </a:lnTo>
                    <a:lnTo>
                      <a:pt x="340" y="124"/>
                    </a:lnTo>
                    <a:lnTo>
                      <a:pt x="340" y="124"/>
                    </a:lnTo>
                    <a:lnTo>
                      <a:pt x="342" y="114"/>
                    </a:lnTo>
                    <a:lnTo>
                      <a:pt x="342" y="114"/>
                    </a:lnTo>
                    <a:lnTo>
                      <a:pt x="340" y="104"/>
                    </a:lnTo>
                    <a:lnTo>
                      <a:pt x="334" y="96"/>
                    </a:lnTo>
                    <a:lnTo>
                      <a:pt x="334" y="96"/>
                    </a:lnTo>
                    <a:lnTo>
                      <a:pt x="326" y="90"/>
                    </a:lnTo>
                    <a:lnTo>
                      <a:pt x="316" y="88"/>
                    </a:lnTo>
                    <a:lnTo>
                      <a:pt x="316" y="88"/>
                    </a:lnTo>
                    <a:lnTo>
                      <a:pt x="310" y="88"/>
                    </a:lnTo>
                    <a:lnTo>
                      <a:pt x="310" y="88"/>
                    </a:lnTo>
                    <a:lnTo>
                      <a:pt x="306" y="88"/>
                    </a:lnTo>
                    <a:lnTo>
                      <a:pt x="306" y="88"/>
                    </a:lnTo>
                    <a:lnTo>
                      <a:pt x="302" y="88"/>
                    </a:lnTo>
                    <a:lnTo>
                      <a:pt x="298" y="86"/>
                    </a:lnTo>
                    <a:lnTo>
                      <a:pt x="298" y="86"/>
                    </a:lnTo>
                    <a:lnTo>
                      <a:pt x="294" y="82"/>
                    </a:lnTo>
                    <a:lnTo>
                      <a:pt x="292" y="78"/>
                    </a:lnTo>
                    <a:lnTo>
                      <a:pt x="292" y="78"/>
                    </a:lnTo>
                    <a:close/>
                    <a:moveTo>
                      <a:pt x="278" y="22"/>
                    </a:moveTo>
                    <a:lnTo>
                      <a:pt x="278" y="22"/>
                    </a:lnTo>
                    <a:lnTo>
                      <a:pt x="278" y="20"/>
                    </a:lnTo>
                    <a:lnTo>
                      <a:pt x="278" y="20"/>
                    </a:lnTo>
                    <a:lnTo>
                      <a:pt x="278" y="14"/>
                    </a:lnTo>
                    <a:lnTo>
                      <a:pt x="280" y="10"/>
                    </a:lnTo>
                    <a:lnTo>
                      <a:pt x="280" y="10"/>
                    </a:lnTo>
                    <a:lnTo>
                      <a:pt x="286" y="6"/>
                    </a:lnTo>
                    <a:lnTo>
                      <a:pt x="292" y="4"/>
                    </a:lnTo>
                    <a:lnTo>
                      <a:pt x="292" y="4"/>
                    </a:lnTo>
                    <a:lnTo>
                      <a:pt x="302" y="2"/>
                    </a:lnTo>
                    <a:lnTo>
                      <a:pt x="314" y="0"/>
                    </a:lnTo>
                    <a:lnTo>
                      <a:pt x="314" y="0"/>
                    </a:lnTo>
                    <a:lnTo>
                      <a:pt x="332" y="2"/>
                    </a:lnTo>
                    <a:lnTo>
                      <a:pt x="350" y="6"/>
                    </a:lnTo>
                    <a:lnTo>
                      <a:pt x="350" y="6"/>
                    </a:lnTo>
                    <a:lnTo>
                      <a:pt x="364" y="12"/>
                    </a:lnTo>
                    <a:lnTo>
                      <a:pt x="376" y="18"/>
                    </a:lnTo>
                    <a:lnTo>
                      <a:pt x="388" y="28"/>
                    </a:lnTo>
                    <a:lnTo>
                      <a:pt x="400" y="38"/>
                    </a:lnTo>
                    <a:lnTo>
                      <a:pt x="400" y="38"/>
                    </a:lnTo>
                    <a:lnTo>
                      <a:pt x="408" y="50"/>
                    </a:lnTo>
                    <a:lnTo>
                      <a:pt x="416" y="64"/>
                    </a:lnTo>
                    <a:lnTo>
                      <a:pt x="422" y="78"/>
                    </a:lnTo>
                    <a:lnTo>
                      <a:pt x="426" y="92"/>
                    </a:lnTo>
                    <a:lnTo>
                      <a:pt x="426" y="92"/>
                    </a:lnTo>
                    <a:lnTo>
                      <a:pt x="428" y="116"/>
                    </a:lnTo>
                    <a:lnTo>
                      <a:pt x="428" y="116"/>
                    </a:lnTo>
                    <a:lnTo>
                      <a:pt x="428" y="132"/>
                    </a:lnTo>
                    <a:lnTo>
                      <a:pt x="424" y="150"/>
                    </a:lnTo>
                    <a:lnTo>
                      <a:pt x="424" y="150"/>
                    </a:lnTo>
                    <a:lnTo>
                      <a:pt x="424" y="150"/>
                    </a:lnTo>
                    <a:lnTo>
                      <a:pt x="420" y="156"/>
                    </a:lnTo>
                    <a:lnTo>
                      <a:pt x="416" y="160"/>
                    </a:lnTo>
                    <a:lnTo>
                      <a:pt x="416" y="160"/>
                    </a:lnTo>
                    <a:lnTo>
                      <a:pt x="408" y="160"/>
                    </a:lnTo>
                    <a:lnTo>
                      <a:pt x="408" y="160"/>
                    </a:lnTo>
                    <a:lnTo>
                      <a:pt x="402" y="160"/>
                    </a:lnTo>
                    <a:lnTo>
                      <a:pt x="402" y="160"/>
                    </a:lnTo>
                    <a:lnTo>
                      <a:pt x="396" y="158"/>
                    </a:lnTo>
                    <a:lnTo>
                      <a:pt x="392" y="152"/>
                    </a:lnTo>
                    <a:lnTo>
                      <a:pt x="392" y="152"/>
                    </a:lnTo>
                    <a:lnTo>
                      <a:pt x="392" y="144"/>
                    </a:lnTo>
                    <a:lnTo>
                      <a:pt x="392" y="144"/>
                    </a:lnTo>
                    <a:lnTo>
                      <a:pt x="392" y="140"/>
                    </a:lnTo>
                    <a:lnTo>
                      <a:pt x="392" y="140"/>
                    </a:lnTo>
                    <a:lnTo>
                      <a:pt x="392" y="140"/>
                    </a:lnTo>
                    <a:lnTo>
                      <a:pt x="394" y="128"/>
                    </a:lnTo>
                    <a:lnTo>
                      <a:pt x="396" y="116"/>
                    </a:lnTo>
                    <a:lnTo>
                      <a:pt x="396" y="116"/>
                    </a:lnTo>
                    <a:lnTo>
                      <a:pt x="394" y="98"/>
                    </a:lnTo>
                    <a:lnTo>
                      <a:pt x="394" y="98"/>
                    </a:lnTo>
                    <a:lnTo>
                      <a:pt x="392" y="88"/>
                    </a:lnTo>
                    <a:lnTo>
                      <a:pt x="388" y="78"/>
                    </a:lnTo>
                    <a:lnTo>
                      <a:pt x="382" y="68"/>
                    </a:lnTo>
                    <a:lnTo>
                      <a:pt x="374" y="60"/>
                    </a:lnTo>
                    <a:lnTo>
                      <a:pt x="374" y="60"/>
                    </a:lnTo>
                    <a:lnTo>
                      <a:pt x="368" y="52"/>
                    </a:lnTo>
                    <a:lnTo>
                      <a:pt x="358" y="46"/>
                    </a:lnTo>
                    <a:lnTo>
                      <a:pt x="350" y="42"/>
                    </a:lnTo>
                    <a:lnTo>
                      <a:pt x="340" y="38"/>
                    </a:lnTo>
                    <a:lnTo>
                      <a:pt x="340" y="38"/>
                    </a:lnTo>
                    <a:lnTo>
                      <a:pt x="328" y="34"/>
                    </a:lnTo>
                    <a:lnTo>
                      <a:pt x="316" y="34"/>
                    </a:lnTo>
                    <a:lnTo>
                      <a:pt x="316" y="34"/>
                    </a:lnTo>
                    <a:lnTo>
                      <a:pt x="298" y="36"/>
                    </a:lnTo>
                    <a:lnTo>
                      <a:pt x="298" y="36"/>
                    </a:lnTo>
                    <a:lnTo>
                      <a:pt x="294" y="36"/>
                    </a:lnTo>
                    <a:lnTo>
                      <a:pt x="294" y="36"/>
                    </a:lnTo>
                    <a:lnTo>
                      <a:pt x="290" y="36"/>
                    </a:lnTo>
                    <a:lnTo>
                      <a:pt x="286" y="34"/>
                    </a:lnTo>
                    <a:lnTo>
                      <a:pt x="286" y="34"/>
                    </a:lnTo>
                    <a:lnTo>
                      <a:pt x="280" y="28"/>
                    </a:lnTo>
                    <a:lnTo>
                      <a:pt x="278" y="22"/>
                    </a:lnTo>
                    <a:lnTo>
                      <a:pt x="278" y="22"/>
                    </a:lnTo>
                    <a:close/>
                    <a:moveTo>
                      <a:pt x="166" y="238"/>
                    </a:moveTo>
                    <a:lnTo>
                      <a:pt x="166" y="238"/>
                    </a:lnTo>
                    <a:lnTo>
                      <a:pt x="168" y="242"/>
                    </a:lnTo>
                    <a:lnTo>
                      <a:pt x="172" y="244"/>
                    </a:lnTo>
                    <a:lnTo>
                      <a:pt x="172" y="244"/>
                    </a:lnTo>
                    <a:lnTo>
                      <a:pt x="174" y="244"/>
                    </a:lnTo>
                    <a:lnTo>
                      <a:pt x="174" y="244"/>
                    </a:lnTo>
                    <a:lnTo>
                      <a:pt x="178" y="244"/>
                    </a:lnTo>
                    <a:lnTo>
                      <a:pt x="178" y="244"/>
                    </a:lnTo>
                    <a:lnTo>
                      <a:pt x="182" y="242"/>
                    </a:lnTo>
                    <a:lnTo>
                      <a:pt x="184" y="238"/>
                    </a:lnTo>
                    <a:lnTo>
                      <a:pt x="184" y="238"/>
                    </a:lnTo>
                    <a:lnTo>
                      <a:pt x="184" y="236"/>
                    </a:lnTo>
                    <a:lnTo>
                      <a:pt x="184" y="232"/>
                    </a:lnTo>
                    <a:lnTo>
                      <a:pt x="184" y="232"/>
                    </a:lnTo>
                    <a:lnTo>
                      <a:pt x="182" y="230"/>
                    </a:lnTo>
                    <a:lnTo>
                      <a:pt x="180" y="228"/>
                    </a:lnTo>
                    <a:lnTo>
                      <a:pt x="180" y="228"/>
                    </a:lnTo>
                    <a:lnTo>
                      <a:pt x="174" y="228"/>
                    </a:lnTo>
                    <a:lnTo>
                      <a:pt x="174" y="228"/>
                    </a:lnTo>
                    <a:lnTo>
                      <a:pt x="170" y="230"/>
                    </a:lnTo>
                    <a:lnTo>
                      <a:pt x="168" y="232"/>
                    </a:lnTo>
                    <a:lnTo>
                      <a:pt x="168" y="232"/>
                    </a:lnTo>
                    <a:lnTo>
                      <a:pt x="166" y="236"/>
                    </a:lnTo>
                    <a:lnTo>
                      <a:pt x="166" y="238"/>
                    </a:lnTo>
                    <a:lnTo>
                      <a:pt x="166" y="238"/>
                    </a:lnTo>
                    <a:close/>
                    <a:moveTo>
                      <a:pt x="118" y="266"/>
                    </a:moveTo>
                    <a:lnTo>
                      <a:pt x="118" y="266"/>
                    </a:lnTo>
                    <a:lnTo>
                      <a:pt x="122" y="274"/>
                    </a:lnTo>
                    <a:lnTo>
                      <a:pt x="128" y="278"/>
                    </a:lnTo>
                    <a:lnTo>
                      <a:pt x="128" y="278"/>
                    </a:lnTo>
                    <a:lnTo>
                      <a:pt x="138" y="280"/>
                    </a:lnTo>
                    <a:lnTo>
                      <a:pt x="138" y="280"/>
                    </a:lnTo>
                    <a:lnTo>
                      <a:pt x="146" y="280"/>
                    </a:lnTo>
                    <a:lnTo>
                      <a:pt x="146" y="280"/>
                    </a:lnTo>
                    <a:lnTo>
                      <a:pt x="154" y="274"/>
                    </a:lnTo>
                    <a:lnTo>
                      <a:pt x="160" y="268"/>
                    </a:lnTo>
                    <a:lnTo>
                      <a:pt x="160" y="268"/>
                    </a:lnTo>
                    <a:lnTo>
                      <a:pt x="164" y="262"/>
                    </a:lnTo>
                    <a:lnTo>
                      <a:pt x="164" y="256"/>
                    </a:lnTo>
                    <a:lnTo>
                      <a:pt x="164" y="256"/>
                    </a:lnTo>
                    <a:lnTo>
                      <a:pt x="164" y="252"/>
                    </a:lnTo>
                    <a:lnTo>
                      <a:pt x="164" y="252"/>
                    </a:lnTo>
                    <a:lnTo>
                      <a:pt x="160" y="244"/>
                    </a:lnTo>
                    <a:lnTo>
                      <a:pt x="152" y="240"/>
                    </a:lnTo>
                    <a:lnTo>
                      <a:pt x="152" y="240"/>
                    </a:lnTo>
                    <a:lnTo>
                      <a:pt x="144" y="238"/>
                    </a:lnTo>
                    <a:lnTo>
                      <a:pt x="144" y="238"/>
                    </a:lnTo>
                    <a:lnTo>
                      <a:pt x="136" y="240"/>
                    </a:lnTo>
                    <a:lnTo>
                      <a:pt x="136" y="240"/>
                    </a:lnTo>
                    <a:lnTo>
                      <a:pt x="126" y="244"/>
                    </a:lnTo>
                    <a:lnTo>
                      <a:pt x="120" y="250"/>
                    </a:lnTo>
                    <a:lnTo>
                      <a:pt x="120" y="250"/>
                    </a:lnTo>
                    <a:lnTo>
                      <a:pt x="118" y="256"/>
                    </a:lnTo>
                    <a:lnTo>
                      <a:pt x="118" y="262"/>
                    </a:lnTo>
                    <a:lnTo>
                      <a:pt x="118" y="262"/>
                    </a:lnTo>
                    <a:lnTo>
                      <a:pt x="118" y="266"/>
                    </a:lnTo>
                    <a:lnTo>
                      <a:pt x="118" y="266"/>
                    </a:lnTo>
                    <a:close/>
                    <a:moveTo>
                      <a:pt x="98" y="274"/>
                    </a:moveTo>
                    <a:lnTo>
                      <a:pt x="98" y="274"/>
                    </a:lnTo>
                    <a:lnTo>
                      <a:pt x="94" y="262"/>
                    </a:lnTo>
                    <a:lnTo>
                      <a:pt x="94" y="252"/>
                    </a:lnTo>
                    <a:lnTo>
                      <a:pt x="94" y="252"/>
                    </a:lnTo>
                    <a:lnTo>
                      <a:pt x="96" y="240"/>
                    </a:lnTo>
                    <a:lnTo>
                      <a:pt x="100" y="228"/>
                    </a:lnTo>
                    <a:lnTo>
                      <a:pt x="100" y="228"/>
                    </a:lnTo>
                    <a:lnTo>
                      <a:pt x="106" y="218"/>
                    </a:lnTo>
                    <a:lnTo>
                      <a:pt x="114" y="208"/>
                    </a:lnTo>
                    <a:lnTo>
                      <a:pt x="124" y="200"/>
                    </a:lnTo>
                    <a:lnTo>
                      <a:pt x="136" y="194"/>
                    </a:lnTo>
                    <a:lnTo>
                      <a:pt x="136" y="194"/>
                    </a:lnTo>
                    <a:lnTo>
                      <a:pt x="152" y="190"/>
                    </a:lnTo>
                    <a:lnTo>
                      <a:pt x="168" y="188"/>
                    </a:lnTo>
                    <a:lnTo>
                      <a:pt x="168" y="188"/>
                    </a:lnTo>
                    <a:lnTo>
                      <a:pt x="178" y="188"/>
                    </a:lnTo>
                    <a:lnTo>
                      <a:pt x="186" y="190"/>
                    </a:lnTo>
                    <a:lnTo>
                      <a:pt x="186" y="190"/>
                    </a:lnTo>
                    <a:lnTo>
                      <a:pt x="198" y="194"/>
                    </a:lnTo>
                    <a:lnTo>
                      <a:pt x="210" y="200"/>
                    </a:lnTo>
                    <a:lnTo>
                      <a:pt x="218" y="208"/>
                    </a:lnTo>
                    <a:lnTo>
                      <a:pt x="224" y="218"/>
                    </a:lnTo>
                    <a:lnTo>
                      <a:pt x="224" y="218"/>
                    </a:lnTo>
                    <a:lnTo>
                      <a:pt x="228" y="230"/>
                    </a:lnTo>
                    <a:lnTo>
                      <a:pt x="230" y="242"/>
                    </a:lnTo>
                    <a:lnTo>
                      <a:pt x="230" y="242"/>
                    </a:lnTo>
                    <a:lnTo>
                      <a:pt x="230" y="252"/>
                    </a:lnTo>
                    <a:lnTo>
                      <a:pt x="226" y="264"/>
                    </a:lnTo>
                    <a:lnTo>
                      <a:pt x="226" y="264"/>
                    </a:lnTo>
                    <a:lnTo>
                      <a:pt x="218" y="276"/>
                    </a:lnTo>
                    <a:lnTo>
                      <a:pt x="210" y="286"/>
                    </a:lnTo>
                    <a:lnTo>
                      <a:pt x="200" y="294"/>
                    </a:lnTo>
                    <a:lnTo>
                      <a:pt x="188" y="300"/>
                    </a:lnTo>
                    <a:lnTo>
                      <a:pt x="188" y="300"/>
                    </a:lnTo>
                    <a:lnTo>
                      <a:pt x="172" y="306"/>
                    </a:lnTo>
                    <a:lnTo>
                      <a:pt x="156" y="308"/>
                    </a:lnTo>
                    <a:lnTo>
                      <a:pt x="156" y="308"/>
                    </a:lnTo>
                    <a:lnTo>
                      <a:pt x="144" y="306"/>
                    </a:lnTo>
                    <a:lnTo>
                      <a:pt x="134" y="304"/>
                    </a:lnTo>
                    <a:lnTo>
                      <a:pt x="134" y="304"/>
                    </a:lnTo>
                    <a:lnTo>
                      <a:pt x="122" y="298"/>
                    </a:lnTo>
                    <a:lnTo>
                      <a:pt x="112" y="292"/>
                    </a:lnTo>
                    <a:lnTo>
                      <a:pt x="104" y="284"/>
                    </a:lnTo>
                    <a:lnTo>
                      <a:pt x="98" y="274"/>
                    </a:lnTo>
                    <a:lnTo>
                      <a:pt x="98" y="274"/>
                    </a:lnTo>
                    <a:close/>
                    <a:moveTo>
                      <a:pt x="42" y="252"/>
                    </a:moveTo>
                    <a:lnTo>
                      <a:pt x="42" y="252"/>
                    </a:lnTo>
                    <a:lnTo>
                      <a:pt x="44" y="260"/>
                    </a:lnTo>
                    <a:lnTo>
                      <a:pt x="46" y="268"/>
                    </a:lnTo>
                    <a:lnTo>
                      <a:pt x="50" y="276"/>
                    </a:lnTo>
                    <a:lnTo>
                      <a:pt x="56" y="284"/>
                    </a:lnTo>
                    <a:lnTo>
                      <a:pt x="68" y="296"/>
                    </a:lnTo>
                    <a:lnTo>
                      <a:pt x="86" y="308"/>
                    </a:lnTo>
                    <a:lnTo>
                      <a:pt x="86" y="308"/>
                    </a:lnTo>
                    <a:lnTo>
                      <a:pt x="102" y="314"/>
                    </a:lnTo>
                    <a:lnTo>
                      <a:pt x="120" y="320"/>
                    </a:lnTo>
                    <a:lnTo>
                      <a:pt x="138" y="324"/>
                    </a:lnTo>
                    <a:lnTo>
                      <a:pt x="158" y="324"/>
                    </a:lnTo>
                    <a:lnTo>
                      <a:pt x="158" y="324"/>
                    </a:lnTo>
                    <a:lnTo>
                      <a:pt x="180" y="324"/>
                    </a:lnTo>
                    <a:lnTo>
                      <a:pt x="180" y="324"/>
                    </a:lnTo>
                    <a:lnTo>
                      <a:pt x="206" y="320"/>
                    </a:lnTo>
                    <a:lnTo>
                      <a:pt x="228" y="312"/>
                    </a:lnTo>
                    <a:lnTo>
                      <a:pt x="250" y="302"/>
                    </a:lnTo>
                    <a:lnTo>
                      <a:pt x="268" y="290"/>
                    </a:lnTo>
                    <a:lnTo>
                      <a:pt x="268" y="290"/>
                    </a:lnTo>
                    <a:lnTo>
                      <a:pt x="282" y="276"/>
                    </a:lnTo>
                    <a:lnTo>
                      <a:pt x="292" y="262"/>
                    </a:lnTo>
                    <a:lnTo>
                      <a:pt x="298" y="248"/>
                    </a:lnTo>
                    <a:lnTo>
                      <a:pt x="300" y="232"/>
                    </a:lnTo>
                    <a:lnTo>
                      <a:pt x="300" y="232"/>
                    </a:lnTo>
                    <a:lnTo>
                      <a:pt x="300" y="226"/>
                    </a:lnTo>
                    <a:lnTo>
                      <a:pt x="300" y="226"/>
                    </a:lnTo>
                    <a:lnTo>
                      <a:pt x="298" y="218"/>
                    </a:lnTo>
                    <a:lnTo>
                      <a:pt x="296" y="210"/>
                    </a:lnTo>
                    <a:lnTo>
                      <a:pt x="292" y="202"/>
                    </a:lnTo>
                    <a:lnTo>
                      <a:pt x="288" y="194"/>
                    </a:lnTo>
                    <a:lnTo>
                      <a:pt x="274" y="182"/>
                    </a:lnTo>
                    <a:lnTo>
                      <a:pt x="256" y="170"/>
                    </a:lnTo>
                    <a:lnTo>
                      <a:pt x="256" y="170"/>
                    </a:lnTo>
                    <a:lnTo>
                      <a:pt x="240" y="162"/>
                    </a:lnTo>
                    <a:lnTo>
                      <a:pt x="222" y="158"/>
                    </a:lnTo>
                    <a:lnTo>
                      <a:pt x="204" y="154"/>
                    </a:lnTo>
                    <a:lnTo>
                      <a:pt x="184" y="154"/>
                    </a:lnTo>
                    <a:lnTo>
                      <a:pt x="184" y="154"/>
                    </a:lnTo>
                    <a:lnTo>
                      <a:pt x="162" y="154"/>
                    </a:lnTo>
                    <a:lnTo>
                      <a:pt x="162" y="154"/>
                    </a:lnTo>
                    <a:lnTo>
                      <a:pt x="146" y="156"/>
                    </a:lnTo>
                    <a:lnTo>
                      <a:pt x="130" y="160"/>
                    </a:lnTo>
                    <a:lnTo>
                      <a:pt x="114" y="166"/>
                    </a:lnTo>
                    <a:lnTo>
                      <a:pt x="100" y="172"/>
                    </a:lnTo>
                    <a:lnTo>
                      <a:pt x="100" y="172"/>
                    </a:lnTo>
                    <a:lnTo>
                      <a:pt x="86" y="180"/>
                    </a:lnTo>
                    <a:lnTo>
                      <a:pt x="74" y="188"/>
                    </a:lnTo>
                    <a:lnTo>
                      <a:pt x="64" y="198"/>
                    </a:lnTo>
                    <a:lnTo>
                      <a:pt x="56" y="208"/>
                    </a:lnTo>
                    <a:lnTo>
                      <a:pt x="56" y="208"/>
                    </a:lnTo>
                    <a:lnTo>
                      <a:pt x="50" y="216"/>
                    </a:lnTo>
                    <a:lnTo>
                      <a:pt x="46" y="226"/>
                    </a:lnTo>
                    <a:lnTo>
                      <a:pt x="44" y="236"/>
                    </a:lnTo>
                    <a:lnTo>
                      <a:pt x="42" y="246"/>
                    </a:lnTo>
                    <a:lnTo>
                      <a:pt x="42" y="246"/>
                    </a:lnTo>
                    <a:lnTo>
                      <a:pt x="42" y="252"/>
                    </a:lnTo>
                    <a:lnTo>
                      <a:pt x="42" y="252"/>
                    </a:lnTo>
                    <a:close/>
                    <a:moveTo>
                      <a:pt x="0" y="234"/>
                    </a:moveTo>
                    <a:lnTo>
                      <a:pt x="0" y="234"/>
                    </a:lnTo>
                    <a:lnTo>
                      <a:pt x="0" y="220"/>
                    </a:lnTo>
                    <a:lnTo>
                      <a:pt x="4" y="206"/>
                    </a:lnTo>
                    <a:lnTo>
                      <a:pt x="8" y="192"/>
                    </a:lnTo>
                    <a:lnTo>
                      <a:pt x="16" y="176"/>
                    </a:lnTo>
                    <a:lnTo>
                      <a:pt x="24" y="162"/>
                    </a:lnTo>
                    <a:lnTo>
                      <a:pt x="36" y="146"/>
                    </a:lnTo>
                    <a:lnTo>
                      <a:pt x="48" y="130"/>
                    </a:lnTo>
                    <a:lnTo>
                      <a:pt x="64" y="114"/>
                    </a:lnTo>
                    <a:lnTo>
                      <a:pt x="64" y="114"/>
                    </a:lnTo>
                    <a:lnTo>
                      <a:pt x="84" y="96"/>
                    </a:lnTo>
                    <a:lnTo>
                      <a:pt x="104" y="80"/>
                    </a:lnTo>
                    <a:lnTo>
                      <a:pt x="124" y="68"/>
                    </a:lnTo>
                    <a:lnTo>
                      <a:pt x="146" y="58"/>
                    </a:lnTo>
                    <a:lnTo>
                      <a:pt x="146" y="58"/>
                    </a:lnTo>
                    <a:lnTo>
                      <a:pt x="164" y="52"/>
                    </a:lnTo>
                    <a:lnTo>
                      <a:pt x="178" y="50"/>
                    </a:lnTo>
                    <a:lnTo>
                      <a:pt x="178" y="50"/>
                    </a:lnTo>
                    <a:lnTo>
                      <a:pt x="186" y="50"/>
                    </a:lnTo>
                    <a:lnTo>
                      <a:pt x="194" y="52"/>
                    </a:lnTo>
                    <a:lnTo>
                      <a:pt x="198" y="54"/>
                    </a:lnTo>
                    <a:lnTo>
                      <a:pt x="204" y="60"/>
                    </a:lnTo>
                    <a:lnTo>
                      <a:pt x="204" y="60"/>
                    </a:lnTo>
                    <a:lnTo>
                      <a:pt x="208" y="64"/>
                    </a:lnTo>
                    <a:lnTo>
                      <a:pt x="210" y="70"/>
                    </a:lnTo>
                    <a:lnTo>
                      <a:pt x="212" y="76"/>
                    </a:lnTo>
                    <a:lnTo>
                      <a:pt x="214" y="84"/>
                    </a:lnTo>
                    <a:lnTo>
                      <a:pt x="214" y="84"/>
                    </a:lnTo>
                    <a:lnTo>
                      <a:pt x="212" y="96"/>
                    </a:lnTo>
                    <a:lnTo>
                      <a:pt x="208" y="110"/>
                    </a:lnTo>
                    <a:lnTo>
                      <a:pt x="208" y="110"/>
                    </a:lnTo>
                    <a:lnTo>
                      <a:pt x="208" y="114"/>
                    </a:lnTo>
                    <a:lnTo>
                      <a:pt x="210" y="116"/>
                    </a:lnTo>
                    <a:lnTo>
                      <a:pt x="210" y="116"/>
                    </a:lnTo>
                    <a:lnTo>
                      <a:pt x="216" y="116"/>
                    </a:lnTo>
                    <a:lnTo>
                      <a:pt x="218" y="114"/>
                    </a:lnTo>
                    <a:lnTo>
                      <a:pt x="218" y="114"/>
                    </a:lnTo>
                    <a:lnTo>
                      <a:pt x="236" y="108"/>
                    </a:lnTo>
                    <a:lnTo>
                      <a:pt x="250" y="104"/>
                    </a:lnTo>
                    <a:lnTo>
                      <a:pt x="264" y="100"/>
                    </a:lnTo>
                    <a:lnTo>
                      <a:pt x="278" y="100"/>
                    </a:lnTo>
                    <a:lnTo>
                      <a:pt x="278" y="100"/>
                    </a:lnTo>
                    <a:lnTo>
                      <a:pt x="290" y="102"/>
                    </a:lnTo>
                    <a:lnTo>
                      <a:pt x="300" y="104"/>
                    </a:lnTo>
                    <a:lnTo>
                      <a:pt x="308" y="108"/>
                    </a:lnTo>
                    <a:lnTo>
                      <a:pt x="316" y="114"/>
                    </a:lnTo>
                    <a:lnTo>
                      <a:pt x="316" y="114"/>
                    </a:lnTo>
                    <a:lnTo>
                      <a:pt x="318" y="124"/>
                    </a:lnTo>
                    <a:lnTo>
                      <a:pt x="320" y="132"/>
                    </a:lnTo>
                    <a:lnTo>
                      <a:pt x="320" y="132"/>
                    </a:lnTo>
                    <a:lnTo>
                      <a:pt x="318" y="144"/>
                    </a:lnTo>
                    <a:lnTo>
                      <a:pt x="314" y="158"/>
                    </a:lnTo>
                    <a:lnTo>
                      <a:pt x="314" y="158"/>
                    </a:lnTo>
                    <a:lnTo>
                      <a:pt x="314" y="160"/>
                    </a:lnTo>
                    <a:lnTo>
                      <a:pt x="314" y="164"/>
                    </a:lnTo>
                    <a:lnTo>
                      <a:pt x="314" y="164"/>
                    </a:lnTo>
                    <a:lnTo>
                      <a:pt x="316" y="166"/>
                    </a:lnTo>
                    <a:lnTo>
                      <a:pt x="316" y="166"/>
                    </a:lnTo>
                    <a:lnTo>
                      <a:pt x="322" y="168"/>
                    </a:lnTo>
                    <a:lnTo>
                      <a:pt x="322" y="168"/>
                    </a:lnTo>
                    <a:lnTo>
                      <a:pt x="332" y="172"/>
                    </a:lnTo>
                    <a:lnTo>
                      <a:pt x="342" y="176"/>
                    </a:lnTo>
                    <a:lnTo>
                      <a:pt x="350" y="182"/>
                    </a:lnTo>
                    <a:lnTo>
                      <a:pt x="358" y="190"/>
                    </a:lnTo>
                    <a:lnTo>
                      <a:pt x="358" y="190"/>
                    </a:lnTo>
                    <a:lnTo>
                      <a:pt x="366" y="198"/>
                    </a:lnTo>
                    <a:lnTo>
                      <a:pt x="370" y="206"/>
                    </a:lnTo>
                    <a:lnTo>
                      <a:pt x="372" y="216"/>
                    </a:lnTo>
                    <a:lnTo>
                      <a:pt x="374" y="228"/>
                    </a:lnTo>
                    <a:lnTo>
                      <a:pt x="374" y="228"/>
                    </a:lnTo>
                    <a:lnTo>
                      <a:pt x="372" y="238"/>
                    </a:lnTo>
                    <a:lnTo>
                      <a:pt x="370" y="248"/>
                    </a:lnTo>
                    <a:lnTo>
                      <a:pt x="366" y="258"/>
                    </a:lnTo>
                    <a:lnTo>
                      <a:pt x="360" y="270"/>
                    </a:lnTo>
                    <a:lnTo>
                      <a:pt x="360" y="270"/>
                    </a:lnTo>
                    <a:lnTo>
                      <a:pt x="352" y="280"/>
                    </a:lnTo>
                    <a:lnTo>
                      <a:pt x="342" y="290"/>
                    </a:lnTo>
                    <a:lnTo>
                      <a:pt x="320" y="308"/>
                    </a:lnTo>
                    <a:lnTo>
                      <a:pt x="320" y="308"/>
                    </a:lnTo>
                    <a:lnTo>
                      <a:pt x="308" y="316"/>
                    </a:lnTo>
                    <a:lnTo>
                      <a:pt x="292" y="324"/>
                    </a:lnTo>
                    <a:lnTo>
                      <a:pt x="276" y="332"/>
                    </a:lnTo>
                    <a:lnTo>
                      <a:pt x="258" y="338"/>
                    </a:lnTo>
                    <a:lnTo>
                      <a:pt x="258" y="338"/>
                    </a:lnTo>
                    <a:lnTo>
                      <a:pt x="240" y="342"/>
                    </a:lnTo>
                    <a:lnTo>
                      <a:pt x="220" y="346"/>
                    </a:lnTo>
                    <a:lnTo>
                      <a:pt x="200" y="348"/>
                    </a:lnTo>
                    <a:lnTo>
                      <a:pt x="180" y="348"/>
                    </a:lnTo>
                    <a:lnTo>
                      <a:pt x="180" y="348"/>
                    </a:lnTo>
                    <a:lnTo>
                      <a:pt x="156" y="348"/>
                    </a:lnTo>
                    <a:lnTo>
                      <a:pt x="134" y="346"/>
                    </a:lnTo>
                    <a:lnTo>
                      <a:pt x="114" y="342"/>
                    </a:lnTo>
                    <a:lnTo>
                      <a:pt x="94" y="336"/>
                    </a:lnTo>
                    <a:lnTo>
                      <a:pt x="94" y="336"/>
                    </a:lnTo>
                    <a:lnTo>
                      <a:pt x="74" y="328"/>
                    </a:lnTo>
                    <a:lnTo>
                      <a:pt x="56" y="318"/>
                    </a:lnTo>
                    <a:lnTo>
                      <a:pt x="40" y="308"/>
                    </a:lnTo>
                    <a:lnTo>
                      <a:pt x="26" y="296"/>
                    </a:lnTo>
                    <a:lnTo>
                      <a:pt x="26" y="296"/>
                    </a:lnTo>
                    <a:lnTo>
                      <a:pt x="14" y="282"/>
                    </a:lnTo>
                    <a:lnTo>
                      <a:pt x="6" y="266"/>
                    </a:lnTo>
                    <a:lnTo>
                      <a:pt x="0" y="252"/>
                    </a:lnTo>
                    <a:lnTo>
                      <a:pt x="0" y="234"/>
                    </a:lnTo>
                    <a:lnTo>
                      <a:pt x="0" y="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5" name="Group 4">
              <a:extLst>
                <a:ext uri="{FF2B5EF4-FFF2-40B4-BE49-F238E27FC236}">
                  <a16:creationId xmlns:a16="http://schemas.microsoft.com/office/drawing/2014/main" id="{03388F4B-556F-EAE4-7553-F376E84A9821}"/>
                </a:ext>
              </a:extLst>
            </p:cNvPr>
            <p:cNvGrpSpPr/>
            <p:nvPr/>
          </p:nvGrpSpPr>
          <p:grpSpPr>
            <a:xfrm>
              <a:off x="1650482" y="5206304"/>
              <a:ext cx="390295" cy="390295"/>
              <a:chOff x="6127750" y="2970213"/>
              <a:chExt cx="914400" cy="914400"/>
            </a:xfrm>
          </p:grpSpPr>
          <p:sp>
            <p:nvSpPr>
              <p:cNvPr id="24" name="Freeform 35">
                <a:extLst>
                  <a:ext uri="{FF2B5EF4-FFF2-40B4-BE49-F238E27FC236}">
                    <a16:creationId xmlns:a16="http://schemas.microsoft.com/office/drawing/2014/main" id="{44A07F41-A379-1AFE-AB9E-47028A72A14B}"/>
                  </a:ext>
                </a:extLst>
              </p:cNvPr>
              <p:cNvSpPr>
                <a:spLocks/>
              </p:cNvSpPr>
              <p:nvPr/>
            </p:nvSpPr>
            <p:spPr bwMode="auto">
              <a:xfrm>
                <a:off x="6127750"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2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2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2" y="20"/>
                    </a:lnTo>
                    <a:lnTo>
                      <a:pt x="2" y="26"/>
                    </a:lnTo>
                    <a:lnTo>
                      <a:pt x="0" y="32"/>
                    </a:lnTo>
                    <a:lnTo>
                      <a:pt x="0" y="544"/>
                    </a:lnTo>
                    <a:lnTo>
                      <a:pt x="0" y="544"/>
                    </a:lnTo>
                    <a:lnTo>
                      <a:pt x="2" y="552"/>
                    </a:lnTo>
                    <a:lnTo>
                      <a:pt x="2" y="558"/>
                    </a:lnTo>
                    <a:lnTo>
                      <a:pt x="10" y="568"/>
                    </a:lnTo>
                    <a:lnTo>
                      <a:pt x="20" y="574"/>
                    </a:lnTo>
                    <a:lnTo>
                      <a:pt x="26" y="576"/>
                    </a:lnTo>
                    <a:lnTo>
                      <a:pt x="32" y="576"/>
                    </a:lnTo>
                    <a:lnTo>
                      <a:pt x="544" y="576"/>
                    </a:lnTo>
                    <a:lnTo>
                      <a:pt x="544" y="576"/>
                    </a:lnTo>
                    <a:close/>
                  </a:path>
                </a:pathLst>
              </a:custGeom>
              <a:solidFill>
                <a:srgbClr val="7BB3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33" name="Freeform 36">
                <a:extLst>
                  <a:ext uri="{FF2B5EF4-FFF2-40B4-BE49-F238E27FC236}">
                    <a16:creationId xmlns:a16="http://schemas.microsoft.com/office/drawing/2014/main" id="{133AE34C-71E5-2480-77DF-164A1629FBD8}"/>
                  </a:ext>
                </a:extLst>
              </p:cNvPr>
              <p:cNvSpPr>
                <a:spLocks noEditPoints="1"/>
              </p:cNvSpPr>
              <p:nvPr/>
            </p:nvSpPr>
            <p:spPr bwMode="auto">
              <a:xfrm>
                <a:off x="6188075" y="3087688"/>
                <a:ext cx="787400" cy="679450"/>
              </a:xfrm>
              <a:custGeom>
                <a:avLst/>
                <a:gdLst>
                  <a:gd name="T0" fmla="*/ 418 w 496"/>
                  <a:gd name="T1" fmla="*/ 414 h 428"/>
                  <a:gd name="T2" fmla="*/ 384 w 496"/>
                  <a:gd name="T3" fmla="*/ 414 h 428"/>
                  <a:gd name="T4" fmla="*/ 346 w 496"/>
                  <a:gd name="T5" fmla="*/ 420 h 428"/>
                  <a:gd name="T6" fmla="*/ 284 w 496"/>
                  <a:gd name="T7" fmla="*/ 408 h 428"/>
                  <a:gd name="T8" fmla="*/ 244 w 496"/>
                  <a:gd name="T9" fmla="*/ 380 h 428"/>
                  <a:gd name="T10" fmla="*/ 210 w 496"/>
                  <a:gd name="T11" fmla="*/ 332 h 428"/>
                  <a:gd name="T12" fmla="*/ 202 w 496"/>
                  <a:gd name="T13" fmla="*/ 278 h 428"/>
                  <a:gd name="T14" fmla="*/ 220 w 496"/>
                  <a:gd name="T15" fmla="*/ 226 h 428"/>
                  <a:gd name="T16" fmla="*/ 262 w 496"/>
                  <a:gd name="T17" fmla="*/ 182 h 428"/>
                  <a:gd name="T18" fmla="*/ 302 w 496"/>
                  <a:gd name="T19" fmla="*/ 164 h 428"/>
                  <a:gd name="T20" fmla="*/ 360 w 496"/>
                  <a:gd name="T21" fmla="*/ 158 h 428"/>
                  <a:gd name="T22" fmla="*/ 414 w 496"/>
                  <a:gd name="T23" fmla="*/ 172 h 428"/>
                  <a:gd name="T24" fmla="*/ 460 w 496"/>
                  <a:gd name="T25" fmla="*/ 204 h 428"/>
                  <a:gd name="T26" fmla="*/ 492 w 496"/>
                  <a:gd name="T27" fmla="*/ 256 h 428"/>
                  <a:gd name="T28" fmla="*/ 484 w 496"/>
                  <a:gd name="T29" fmla="*/ 342 h 428"/>
                  <a:gd name="T30" fmla="*/ 448 w 496"/>
                  <a:gd name="T31" fmla="*/ 388 h 428"/>
                  <a:gd name="T32" fmla="*/ 446 w 496"/>
                  <a:gd name="T33" fmla="*/ 418 h 428"/>
                  <a:gd name="T34" fmla="*/ 282 w 496"/>
                  <a:gd name="T35" fmla="*/ 268 h 428"/>
                  <a:gd name="T36" fmla="*/ 298 w 496"/>
                  <a:gd name="T37" fmla="*/ 258 h 428"/>
                  <a:gd name="T38" fmla="*/ 296 w 496"/>
                  <a:gd name="T39" fmla="*/ 238 h 428"/>
                  <a:gd name="T40" fmla="*/ 276 w 496"/>
                  <a:gd name="T41" fmla="*/ 234 h 428"/>
                  <a:gd name="T42" fmla="*/ 266 w 496"/>
                  <a:gd name="T43" fmla="*/ 250 h 428"/>
                  <a:gd name="T44" fmla="*/ 282 w 496"/>
                  <a:gd name="T45" fmla="*/ 268 h 428"/>
                  <a:gd name="T46" fmla="*/ 384 w 496"/>
                  <a:gd name="T47" fmla="*/ 234 h 428"/>
                  <a:gd name="T48" fmla="*/ 372 w 496"/>
                  <a:gd name="T49" fmla="*/ 250 h 428"/>
                  <a:gd name="T50" fmla="*/ 390 w 496"/>
                  <a:gd name="T51" fmla="*/ 268 h 428"/>
                  <a:gd name="T52" fmla="*/ 406 w 496"/>
                  <a:gd name="T53" fmla="*/ 258 h 428"/>
                  <a:gd name="T54" fmla="*/ 402 w 496"/>
                  <a:gd name="T55" fmla="*/ 238 h 428"/>
                  <a:gd name="T56" fmla="*/ 244 w 496"/>
                  <a:gd name="T57" fmla="*/ 100 h 428"/>
                  <a:gd name="T58" fmla="*/ 224 w 496"/>
                  <a:gd name="T59" fmla="*/ 114 h 428"/>
                  <a:gd name="T60" fmla="*/ 230 w 496"/>
                  <a:gd name="T61" fmla="*/ 136 h 428"/>
                  <a:gd name="T62" fmla="*/ 252 w 496"/>
                  <a:gd name="T63" fmla="*/ 140 h 428"/>
                  <a:gd name="T64" fmla="*/ 264 w 496"/>
                  <a:gd name="T65" fmla="*/ 122 h 428"/>
                  <a:gd name="T66" fmla="*/ 244 w 496"/>
                  <a:gd name="T67" fmla="*/ 100 h 428"/>
                  <a:gd name="T68" fmla="*/ 132 w 496"/>
                  <a:gd name="T69" fmla="*/ 114 h 428"/>
                  <a:gd name="T70" fmla="*/ 112 w 496"/>
                  <a:gd name="T71" fmla="*/ 100 h 428"/>
                  <a:gd name="T72" fmla="*/ 90 w 496"/>
                  <a:gd name="T73" fmla="*/ 120 h 428"/>
                  <a:gd name="T74" fmla="*/ 102 w 496"/>
                  <a:gd name="T75" fmla="*/ 140 h 428"/>
                  <a:gd name="T76" fmla="*/ 126 w 496"/>
                  <a:gd name="T77" fmla="*/ 136 h 428"/>
                  <a:gd name="T78" fmla="*/ 346 w 496"/>
                  <a:gd name="T79" fmla="*/ 140 h 428"/>
                  <a:gd name="T80" fmla="*/ 296 w 496"/>
                  <a:gd name="T81" fmla="*/ 148 h 428"/>
                  <a:gd name="T82" fmla="*/ 240 w 496"/>
                  <a:gd name="T83" fmla="*/ 178 h 428"/>
                  <a:gd name="T84" fmla="*/ 206 w 496"/>
                  <a:gd name="T85" fmla="*/ 214 h 428"/>
                  <a:gd name="T86" fmla="*/ 184 w 496"/>
                  <a:gd name="T87" fmla="*/ 274 h 428"/>
                  <a:gd name="T88" fmla="*/ 132 w 496"/>
                  <a:gd name="T89" fmla="*/ 302 h 428"/>
                  <a:gd name="T90" fmla="*/ 114 w 496"/>
                  <a:gd name="T91" fmla="*/ 306 h 428"/>
                  <a:gd name="T92" fmla="*/ 74 w 496"/>
                  <a:gd name="T93" fmla="*/ 294 h 428"/>
                  <a:gd name="T94" fmla="*/ 72 w 496"/>
                  <a:gd name="T95" fmla="*/ 278 h 428"/>
                  <a:gd name="T96" fmla="*/ 32 w 496"/>
                  <a:gd name="T97" fmla="*/ 242 h 428"/>
                  <a:gd name="T98" fmla="*/ 0 w 496"/>
                  <a:gd name="T99" fmla="*/ 160 h 428"/>
                  <a:gd name="T100" fmla="*/ 12 w 496"/>
                  <a:gd name="T101" fmla="*/ 96 h 428"/>
                  <a:gd name="T102" fmla="*/ 62 w 496"/>
                  <a:gd name="T103" fmla="*/ 36 h 428"/>
                  <a:gd name="T104" fmla="*/ 116 w 496"/>
                  <a:gd name="T105" fmla="*/ 8 h 428"/>
                  <a:gd name="T106" fmla="*/ 226 w 496"/>
                  <a:gd name="T107" fmla="*/ 8 h 428"/>
                  <a:gd name="T108" fmla="*/ 316 w 496"/>
                  <a:gd name="T109" fmla="*/ 68 h 428"/>
                  <a:gd name="T110" fmla="*/ 342 w 496"/>
                  <a:gd name="T111" fmla="*/ 1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28">
                    <a:moveTo>
                      <a:pt x="450" y="428"/>
                    </a:moveTo>
                    <a:lnTo>
                      <a:pt x="450" y="428"/>
                    </a:lnTo>
                    <a:lnTo>
                      <a:pt x="428" y="418"/>
                    </a:lnTo>
                    <a:lnTo>
                      <a:pt x="418" y="414"/>
                    </a:lnTo>
                    <a:lnTo>
                      <a:pt x="406" y="410"/>
                    </a:lnTo>
                    <a:lnTo>
                      <a:pt x="406" y="410"/>
                    </a:lnTo>
                    <a:lnTo>
                      <a:pt x="396" y="412"/>
                    </a:lnTo>
                    <a:lnTo>
                      <a:pt x="384" y="414"/>
                    </a:lnTo>
                    <a:lnTo>
                      <a:pt x="374" y="418"/>
                    </a:lnTo>
                    <a:lnTo>
                      <a:pt x="362" y="420"/>
                    </a:lnTo>
                    <a:lnTo>
                      <a:pt x="362" y="420"/>
                    </a:lnTo>
                    <a:lnTo>
                      <a:pt x="346" y="420"/>
                    </a:lnTo>
                    <a:lnTo>
                      <a:pt x="330" y="420"/>
                    </a:lnTo>
                    <a:lnTo>
                      <a:pt x="314" y="418"/>
                    </a:lnTo>
                    <a:lnTo>
                      <a:pt x="298" y="414"/>
                    </a:lnTo>
                    <a:lnTo>
                      <a:pt x="284" y="408"/>
                    </a:lnTo>
                    <a:lnTo>
                      <a:pt x="270" y="400"/>
                    </a:lnTo>
                    <a:lnTo>
                      <a:pt x="256" y="390"/>
                    </a:lnTo>
                    <a:lnTo>
                      <a:pt x="244" y="380"/>
                    </a:lnTo>
                    <a:lnTo>
                      <a:pt x="244" y="380"/>
                    </a:lnTo>
                    <a:lnTo>
                      <a:pt x="232" y="368"/>
                    </a:lnTo>
                    <a:lnTo>
                      <a:pt x="222" y="356"/>
                    </a:lnTo>
                    <a:lnTo>
                      <a:pt x="216" y="344"/>
                    </a:lnTo>
                    <a:lnTo>
                      <a:pt x="210" y="332"/>
                    </a:lnTo>
                    <a:lnTo>
                      <a:pt x="204" y="318"/>
                    </a:lnTo>
                    <a:lnTo>
                      <a:pt x="202" y="304"/>
                    </a:lnTo>
                    <a:lnTo>
                      <a:pt x="200" y="292"/>
                    </a:lnTo>
                    <a:lnTo>
                      <a:pt x="202" y="278"/>
                    </a:lnTo>
                    <a:lnTo>
                      <a:pt x="204" y="264"/>
                    </a:lnTo>
                    <a:lnTo>
                      <a:pt x="208" y="250"/>
                    </a:lnTo>
                    <a:lnTo>
                      <a:pt x="212" y="238"/>
                    </a:lnTo>
                    <a:lnTo>
                      <a:pt x="220" y="226"/>
                    </a:lnTo>
                    <a:lnTo>
                      <a:pt x="228" y="214"/>
                    </a:lnTo>
                    <a:lnTo>
                      <a:pt x="238" y="202"/>
                    </a:lnTo>
                    <a:lnTo>
                      <a:pt x="250" y="192"/>
                    </a:lnTo>
                    <a:lnTo>
                      <a:pt x="262" y="182"/>
                    </a:lnTo>
                    <a:lnTo>
                      <a:pt x="262" y="182"/>
                    </a:lnTo>
                    <a:lnTo>
                      <a:pt x="276" y="176"/>
                    </a:lnTo>
                    <a:lnTo>
                      <a:pt x="288" y="170"/>
                    </a:lnTo>
                    <a:lnTo>
                      <a:pt x="302" y="164"/>
                    </a:lnTo>
                    <a:lnTo>
                      <a:pt x="316" y="162"/>
                    </a:lnTo>
                    <a:lnTo>
                      <a:pt x="330" y="158"/>
                    </a:lnTo>
                    <a:lnTo>
                      <a:pt x="344" y="158"/>
                    </a:lnTo>
                    <a:lnTo>
                      <a:pt x="360" y="158"/>
                    </a:lnTo>
                    <a:lnTo>
                      <a:pt x="374" y="160"/>
                    </a:lnTo>
                    <a:lnTo>
                      <a:pt x="388" y="162"/>
                    </a:lnTo>
                    <a:lnTo>
                      <a:pt x="402" y="166"/>
                    </a:lnTo>
                    <a:lnTo>
                      <a:pt x="414" y="172"/>
                    </a:lnTo>
                    <a:lnTo>
                      <a:pt x="428" y="178"/>
                    </a:lnTo>
                    <a:lnTo>
                      <a:pt x="440" y="186"/>
                    </a:lnTo>
                    <a:lnTo>
                      <a:pt x="450" y="194"/>
                    </a:lnTo>
                    <a:lnTo>
                      <a:pt x="460" y="204"/>
                    </a:lnTo>
                    <a:lnTo>
                      <a:pt x="470" y="214"/>
                    </a:lnTo>
                    <a:lnTo>
                      <a:pt x="470" y="214"/>
                    </a:lnTo>
                    <a:lnTo>
                      <a:pt x="484" y="234"/>
                    </a:lnTo>
                    <a:lnTo>
                      <a:pt x="492" y="256"/>
                    </a:lnTo>
                    <a:lnTo>
                      <a:pt x="496" y="278"/>
                    </a:lnTo>
                    <a:lnTo>
                      <a:pt x="496" y="300"/>
                    </a:lnTo>
                    <a:lnTo>
                      <a:pt x="494" y="320"/>
                    </a:lnTo>
                    <a:lnTo>
                      <a:pt x="484" y="342"/>
                    </a:lnTo>
                    <a:lnTo>
                      <a:pt x="472" y="360"/>
                    </a:lnTo>
                    <a:lnTo>
                      <a:pt x="456" y="378"/>
                    </a:lnTo>
                    <a:lnTo>
                      <a:pt x="456" y="378"/>
                    </a:lnTo>
                    <a:lnTo>
                      <a:pt x="448" y="388"/>
                    </a:lnTo>
                    <a:lnTo>
                      <a:pt x="442" y="396"/>
                    </a:lnTo>
                    <a:lnTo>
                      <a:pt x="442" y="406"/>
                    </a:lnTo>
                    <a:lnTo>
                      <a:pt x="446" y="418"/>
                    </a:lnTo>
                    <a:lnTo>
                      <a:pt x="446" y="418"/>
                    </a:lnTo>
                    <a:lnTo>
                      <a:pt x="448" y="422"/>
                    </a:lnTo>
                    <a:lnTo>
                      <a:pt x="450" y="428"/>
                    </a:lnTo>
                    <a:lnTo>
                      <a:pt x="450" y="428"/>
                    </a:lnTo>
                    <a:close/>
                    <a:moveTo>
                      <a:pt x="282" y="268"/>
                    </a:moveTo>
                    <a:lnTo>
                      <a:pt x="282" y="268"/>
                    </a:lnTo>
                    <a:lnTo>
                      <a:pt x="290" y="266"/>
                    </a:lnTo>
                    <a:lnTo>
                      <a:pt x="294" y="262"/>
                    </a:lnTo>
                    <a:lnTo>
                      <a:pt x="298" y="258"/>
                    </a:lnTo>
                    <a:lnTo>
                      <a:pt x="300" y="252"/>
                    </a:lnTo>
                    <a:lnTo>
                      <a:pt x="300" y="252"/>
                    </a:lnTo>
                    <a:lnTo>
                      <a:pt x="298" y="244"/>
                    </a:lnTo>
                    <a:lnTo>
                      <a:pt x="296" y="238"/>
                    </a:lnTo>
                    <a:lnTo>
                      <a:pt x="290" y="234"/>
                    </a:lnTo>
                    <a:lnTo>
                      <a:pt x="282" y="234"/>
                    </a:lnTo>
                    <a:lnTo>
                      <a:pt x="282" y="234"/>
                    </a:lnTo>
                    <a:lnTo>
                      <a:pt x="276" y="234"/>
                    </a:lnTo>
                    <a:lnTo>
                      <a:pt x="270" y="238"/>
                    </a:lnTo>
                    <a:lnTo>
                      <a:pt x="266" y="244"/>
                    </a:lnTo>
                    <a:lnTo>
                      <a:pt x="266" y="250"/>
                    </a:lnTo>
                    <a:lnTo>
                      <a:pt x="266" y="250"/>
                    </a:lnTo>
                    <a:lnTo>
                      <a:pt x="266" y="258"/>
                    </a:lnTo>
                    <a:lnTo>
                      <a:pt x="270" y="262"/>
                    </a:lnTo>
                    <a:lnTo>
                      <a:pt x="276" y="266"/>
                    </a:lnTo>
                    <a:lnTo>
                      <a:pt x="282" y="268"/>
                    </a:lnTo>
                    <a:lnTo>
                      <a:pt x="282" y="268"/>
                    </a:lnTo>
                    <a:close/>
                    <a:moveTo>
                      <a:pt x="390" y="234"/>
                    </a:moveTo>
                    <a:lnTo>
                      <a:pt x="390" y="234"/>
                    </a:lnTo>
                    <a:lnTo>
                      <a:pt x="384" y="234"/>
                    </a:lnTo>
                    <a:lnTo>
                      <a:pt x="378" y="238"/>
                    </a:lnTo>
                    <a:lnTo>
                      <a:pt x="374" y="244"/>
                    </a:lnTo>
                    <a:lnTo>
                      <a:pt x="372" y="250"/>
                    </a:lnTo>
                    <a:lnTo>
                      <a:pt x="372" y="250"/>
                    </a:lnTo>
                    <a:lnTo>
                      <a:pt x="374" y="256"/>
                    </a:lnTo>
                    <a:lnTo>
                      <a:pt x="378" y="262"/>
                    </a:lnTo>
                    <a:lnTo>
                      <a:pt x="382" y="266"/>
                    </a:lnTo>
                    <a:lnTo>
                      <a:pt x="390" y="268"/>
                    </a:lnTo>
                    <a:lnTo>
                      <a:pt x="390" y="268"/>
                    </a:lnTo>
                    <a:lnTo>
                      <a:pt x="396" y="266"/>
                    </a:lnTo>
                    <a:lnTo>
                      <a:pt x="402" y="262"/>
                    </a:lnTo>
                    <a:lnTo>
                      <a:pt x="406" y="258"/>
                    </a:lnTo>
                    <a:lnTo>
                      <a:pt x="406" y="252"/>
                    </a:lnTo>
                    <a:lnTo>
                      <a:pt x="406" y="252"/>
                    </a:lnTo>
                    <a:lnTo>
                      <a:pt x="406" y="244"/>
                    </a:lnTo>
                    <a:lnTo>
                      <a:pt x="402" y="238"/>
                    </a:lnTo>
                    <a:lnTo>
                      <a:pt x="396" y="234"/>
                    </a:lnTo>
                    <a:lnTo>
                      <a:pt x="390" y="234"/>
                    </a:lnTo>
                    <a:lnTo>
                      <a:pt x="390" y="234"/>
                    </a:lnTo>
                    <a:close/>
                    <a:moveTo>
                      <a:pt x="244" y="100"/>
                    </a:moveTo>
                    <a:lnTo>
                      <a:pt x="244" y="100"/>
                    </a:lnTo>
                    <a:lnTo>
                      <a:pt x="236" y="102"/>
                    </a:lnTo>
                    <a:lnTo>
                      <a:pt x="228" y="108"/>
                    </a:lnTo>
                    <a:lnTo>
                      <a:pt x="224" y="114"/>
                    </a:lnTo>
                    <a:lnTo>
                      <a:pt x="222" y="122"/>
                    </a:lnTo>
                    <a:lnTo>
                      <a:pt x="222" y="122"/>
                    </a:lnTo>
                    <a:lnTo>
                      <a:pt x="224" y="130"/>
                    </a:lnTo>
                    <a:lnTo>
                      <a:pt x="230" y="136"/>
                    </a:lnTo>
                    <a:lnTo>
                      <a:pt x="236" y="140"/>
                    </a:lnTo>
                    <a:lnTo>
                      <a:pt x="244" y="142"/>
                    </a:lnTo>
                    <a:lnTo>
                      <a:pt x="244" y="142"/>
                    </a:lnTo>
                    <a:lnTo>
                      <a:pt x="252" y="140"/>
                    </a:lnTo>
                    <a:lnTo>
                      <a:pt x="258" y="136"/>
                    </a:lnTo>
                    <a:lnTo>
                      <a:pt x="264" y="130"/>
                    </a:lnTo>
                    <a:lnTo>
                      <a:pt x="264" y="122"/>
                    </a:lnTo>
                    <a:lnTo>
                      <a:pt x="264" y="122"/>
                    </a:lnTo>
                    <a:lnTo>
                      <a:pt x="264" y="114"/>
                    </a:lnTo>
                    <a:lnTo>
                      <a:pt x="258" y="106"/>
                    </a:lnTo>
                    <a:lnTo>
                      <a:pt x="252" y="102"/>
                    </a:lnTo>
                    <a:lnTo>
                      <a:pt x="244" y="100"/>
                    </a:lnTo>
                    <a:lnTo>
                      <a:pt x="244" y="100"/>
                    </a:lnTo>
                    <a:close/>
                    <a:moveTo>
                      <a:pt x="132" y="122"/>
                    </a:moveTo>
                    <a:lnTo>
                      <a:pt x="132" y="122"/>
                    </a:lnTo>
                    <a:lnTo>
                      <a:pt x="132" y="114"/>
                    </a:lnTo>
                    <a:lnTo>
                      <a:pt x="128" y="108"/>
                    </a:lnTo>
                    <a:lnTo>
                      <a:pt x="120" y="102"/>
                    </a:lnTo>
                    <a:lnTo>
                      <a:pt x="112" y="100"/>
                    </a:lnTo>
                    <a:lnTo>
                      <a:pt x="112" y="100"/>
                    </a:lnTo>
                    <a:lnTo>
                      <a:pt x="104" y="102"/>
                    </a:lnTo>
                    <a:lnTo>
                      <a:pt x="98" y="106"/>
                    </a:lnTo>
                    <a:lnTo>
                      <a:pt x="92" y="112"/>
                    </a:lnTo>
                    <a:lnTo>
                      <a:pt x="90" y="120"/>
                    </a:lnTo>
                    <a:lnTo>
                      <a:pt x="90" y="120"/>
                    </a:lnTo>
                    <a:lnTo>
                      <a:pt x="92" y="128"/>
                    </a:lnTo>
                    <a:lnTo>
                      <a:pt x="96" y="136"/>
                    </a:lnTo>
                    <a:lnTo>
                      <a:pt x="102" y="140"/>
                    </a:lnTo>
                    <a:lnTo>
                      <a:pt x="112" y="142"/>
                    </a:lnTo>
                    <a:lnTo>
                      <a:pt x="112" y="142"/>
                    </a:lnTo>
                    <a:lnTo>
                      <a:pt x="120" y="140"/>
                    </a:lnTo>
                    <a:lnTo>
                      <a:pt x="126" y="136"/>
                    </a:lnTo>
                    <a:lnTo>
                      <a:pt x="130" y="130"/>
                    </a:lnTo>
                    <a:lnTo>
                      <a:pt x="132" y="122"/>
                    </a:lnTo>
                    <a:lnTo>
                      <a:pt x="132" y="122"/>
                    </a:lnTo>
                    <a:close/>
                    <a:moveTo>
                      <a:pt x="346" y="140"/>
                    </a:moveTo>
                    <a:lnTo>
                      <a:pt x="346" y="140"/>
                    </a:lnTo>
                    <a:lnTo>
                      <a:pt x="328" y="142"/>
                    </a:lnTo>
                    <a:lnTo>
                      <a:pt x="312" y="144"/>
                    </a:lnTo>
                    <a:lnTo>
                      <a:pt x="296" y="148"/>
                    </a:lnTo>
                    <a:lnTo>
                      <a:pt x="280" y="154"/>
                    </a:lnTo>
                    <a:lnTo>
                      <a:pt x="266" y="160"/>
                    </a:lnTo>
                    <a:lnTo>
                      <a:pt x="252" y="168"/>
                    </a:lnTo>
                    <a:lnTo>
                      <a:pt x="240" y="178"/>
                    </a:lnTo>
                    <a:lnTo>
                      <a:pt x="226" y="188"/>
                    </a:lnTo>
                    <a:lnTo>
                      <a:pt x="226" y="188"/>
                    </a:lnTo>
                    <a:lnTo>
                      <a:pt x="214" y="202"/>
                    </a:lnTo>
                    <a:lnTo>
                      <a:pt x="206" y="214"/>
                    </a:lnTo>
                    <a:lnTo>
                      <a:pt x="196" y="228"/>
                    </a:lnTo>
                    <a:lnTo>
                      <a:pt x="190" y="242"/>
                    </a:lnTo>
                    <a:lnTo>
                      <a:pt x="186" y="258"/>
                    </a:lnTo>
                    <a:lnTo>
                      <a:pt x="184" y="274"/>
                    </a:lnTo>
                    <a:lnTo>
                      <a:pt x="182" y="290"/>
                    </a:lnTo>
                    <a:lnTo>
                      <a:pt x="182" y="308"/>
                    </a:lnTo>
                    <a:lnTo>
                      <a:pt x="182" y="308"/>
                    </a:lnTo>
                    <a:lnTo>
                      <a:pt x="132" y="302"/>
                    </a:lnTo>
                    <a:lnTo>
                      <a:pt x="132" y="302"/>
                    </a:lnTo>
                    <a:lnTo>
                      <a:pt x="122" y="302"/>
                    </a:lnTo>
                    <a:lnTo>
                      <a:pt x="114" y="306"/>
                    </a:lnTo>
                    <a:lnTo>
                      <a:pt x="114" y="306"/>
                    </a:lnTo>
                    <a:lnTo>
                      <a:pt x="64" y="336"/>
                    </a:lnTo>
                    <a:lnTo>
                      <a:pt x="64" y="336"/>
                    </a:lnTo>
                    <a:lnTo>
                      <a:pt x="70" y="314"/>
                    </a:lnTo>
                    <a:lnTo>
                      <a:pt x="74" y="294"/>
                    </a:lnTo>
                    <a:lnTo>
                      <a:pt x="74" y="294"/>
                    </a:lnTo>
                    <a:lnTo>
                      <a:pt x="76" y="288"/>
                    </a:lnTo>
                    <a:lnTo>
                      <a:pt x="74" y="284"/>
                    </a:lnTo>
                    <a:lnTo>
                      <a:pt x="72" y="278"/>
                    </a:lnTo>
                    <a:lnTo>
                      <a:pt x="66" y="274"/>
                    </a:lnTo>
                    <a:lnTo>
                      <a:pt x="66" y="274"/>
                    </a:lnTo>
                    <a:lnTo>
                      <a:pt x="48" y="258"/>
                    </a:lnTo>
                    <a:lnTo>
                      <a:pt x="32" y="242"/>
                    </a:lnTo>
                    <a:lnTo>
                      <a:pt x="18" y="222"/>
                    </a:lnTo>
                    <a:lnTo>
                      <a:pt x="8" y="204"/>
                    </a:lnTo>
                    <a:lnTo>
                      <a:pt x="2" y="182"/>
                    </a:lnTo>
                    <a:lnTo>
                      <a:pt x="0" y="160"/>
                    </a:lnTo>
                    <a:lnTo>
                      <a:pt x="0" y="138"/>
                    </a:lnTo>
                    <a:lnTo>
                      <a:pt x="6" y="116"/>
                    </a:lnTo>
                    <a:lnTo>
                      <a:pt x="6" y="116"/>
                    </a:lnTo>
                    <a:lnTo>
                      <a:pt x="12" y="96"/>
                    </a:lnTo>
                    <a:lnTo>
                      <a:pt x="22" y="78"/>
                    </a:lnTo>
                    <a:lnTo>
                      <a:pt x="34" y="62"/>
                    </a:lnTo>
                    <a:lnTo>
                      <a:pt x="46" y="48"/>
                    </a:lnTo>
                    <a:lnTo>
                      <a:pt x="62" y="36"/>
                    </a:lnTo>
                    <a:lnTo>
                      <a:pt x="78" y="26"/>
                    </a:lnTo>
                    <a:lnTo>
                      <a:pt x="96" y="16"/>
                    </a:lnTo>
                    <a:lnTo>
                      <a:pt x="116" y="8"/>
                    </a:lnTo>
                    <a:lnTo>
                      <a:pt x="116" y="8"/>
                    </a:lnTo>
                    <a:lnTo>
                      <a:pt x="144" y="2"/>
                    </a:lnTo>
                    <a:lnTo>
                      <a:pt x="172" y="0"/>
                    </a:lnTo>
                    <a:lnTo>
                      <a:pt x="200" y="2"/>
                    </a:lnTo>
                    <a:lnTo>
                      <a:pt x="226" y="8"/>
                    </a:lnTo>
                    <a:lnTo>
                      <a:pt x="252" y="18"/>
                    </a:lnTo>
                    <a:lnTo>
                      <a:pt x="276" y="30"/>
                    </a:lnTo>
                    <a:lnTo>
                      <a:pt x="298" y="48"/>
                    </a:lnTo>
                    <a:lnTo>
                      <a:pt x="316" y="68"/>
                    </a:lnTo>
                    <a:lnTo>
                      <a:pt x="316" y="68"/>
                    </a:lnTo>
                    <a:lnTo>
                      <a:pt x="328" y="84"/>
                    </a:lnTo>
                    <a:lnTo>
                      <a:pt x="336" y="102"/>
                    </a:lnTo>
                    <a:lnTo>
                      <a:pt x="342" y="120"/>
                    </a:lnTo>
                    <a:lnTo>
                      <a:pt x="346" y="140"/>
                    </a:lnTo>
                    <a:lnTo>
                      <a:pt x="34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6" name="Group 5">
              <a:extLst>
                <a:ext uri="{FF2B5EF4-FFF2-40B4-BE49-F238E27FC236}">
                  <a16:creationId xmlns:a16="http://schemas.microsoft.com/office/drawing/2014/main" id="{30C4861A-B1C2-DB82-E23A-4D8CFA8044C0}"/>
                </a:ext>
              </a:extLst>
            </p:cNvPr>
            <p:cNvGrpSpPr/>
            <p:nvPr/>
          </p:nvGrpSpPr>
          <p:grpSpPr>
            <a:xfrm>
              <a:off x="1223597" y="5206304"/>
              <a:ext cx="390295" cy="390295"/>
              <a:chOff x="5127625" y="2970213"/>
              <a:chExt cx="914400" cy="914400"/>
            </a:xfrm>
          </p:grpSpPr>
          <p:sp>
            <p:nvSpPr>
              <p:cNvPr id="14" name="Freeform 31">
                <a:extLst>
                  <a:ext uri="{FF2B5EF4-FFF2-40B4-BE49-F238E27FC236}">
                    <a16:creationId xmlns:a16="http://schemas.microsoft.com/office/drawing/2014/main" id="{63CD1740-FF48-D991-BE2E-5C1A4A322035}"/>
                  </a:ext>
                </a:extLst>
              </p:cNvPr>
              <p:cNvSpPr>
                <a:spLocks/>
              </p:cNvSpPr>
              <p:nvPr/>
            </p:nvSpPr>
            <p:spPr bwMode="auto">
              <a:xfrm>
                <a:off x="5127625"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30 w 576"/>
                  <a:gd name="T25" fmla="*/ 576 h 576"/>
                  <a:gd name="T26" fmla="*/ 22 w 576"/>
                  <a:gd name="T27" fmla="*/ 574 h 576"/>
                  <a:gd name="T28" fmla="*/ 16 w 576"/>
                  <a:gd name="T29" fmla="*/ 570 h 576"/>
                  <a:gd name="T30" fmla="*/ 10 w 576"/>
                  <a:gd name="T31" fmla="*/ 566 h 576"/>
                  <a:gd name="T32" fmla="*/ 6 w 576"/>
                  <a:gd name="T33" fmla="*/ 560 h 576"/>
                  <a:gd name="T34" fmla="*/ 4 w 576"/>
                  <a:gd name="T35" fmla="*/ 554 h 576"/>
                  <a:gd name="T36" fmla="*/ 2 w 576"/>
                  <a:gd name="T37" fmla="*/ 548 h 576"/>
                  <a:gd name="T38" fmla="*/ 0 w 576"/>
                  <a:gd name="T39" fmla="*/ 540 h 576"/>
                  <a:gd name="T40" fmla="*/ 0 w 576"/>
                  <a:gd name="T41" fmla="*/ 36 h 576"/>
                  <a:gd name="T42" fmla="*/ 0 w 576"/>
                  <a:gd name="T43" fmla="*/ 36 h 576"/>
                  <a:gd name="T44" fmla="*/ 2 w 576"/>
                  <a:gd name="T45" fmla="*/ 30 h 576"/>
                  <a:gd name="T46" fmla="*/ 4 w 576"/>
                  <a:gd name="T47" fmla="*/ 22 h 576"/>
                  <a:gd name="T48" fmla="*/ 6 w 576"/>
                  <a:gd name="T49" fmla="*/ 16 h 576"/>
                  <a:gd name="T50" fmla="*/ 10 w 576"/>
                  <a:gd name="T51" fmla="*/ 12 h 576"/>
                  <a:gd name="T52" fmla="*/ 16 w 576"/>
                  <a:gd name="T53" fmla="*/ 6 h 576"/>
                  <a:gd name="T54" fmla="*/ 22 w 576"/>
                  <a:gd name="T55" fmla="*/ 4 h 576"/>
                  <a:gd name="T56" fmla="*/ 30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30" y="576"/>
                    </a:lnTo>
                    <a:lnTo>
                      <a:pt x="22" y="574"/>
                    </a:lnTo>
                    <a:lnTo>
                      <a:pt x="16" y="570"/>
                    </a:lnTo>
                    <a:lnTo>
                      <a:pt x="10" y="566"/>
                    </a:lnTo>
                    <a:lnTo>
                      <a:pt x="6" y="560"/>
                    </a:lnTo>
                    <a:lnTo>
                      <a:pt x="4" y="554"/>
                    </a:lnTo>
                    <a:lnTo>
                      <a:pt x="2" y="548"/>
                    </a:lnTo>
                    <a:lnTo>
                      <a:pt x="0" y="540"/>
                    </a:lnTo>
                    <a:lnTo>
                      <a:pt x="0" y="36"/>
                    </a:lnTo>
                    <a:lnTo>
                      <a:pt x="0" y="36"/>
                    </a:lnTo>
                    <a:lnTo>
                      <a:pt x="2" y="30"/>
                    </a:lnTo>
                    <a:lnTo>
                      <a:pt x="4" y="22"/>
                    </a:lnTo>
                    <a:lnTo>
                      <a:pt x="6" y="16"/>
                    </a:lnTo>
                    <a:lnTo>
                      <a:pt x="10" y="12"/>
                    </a:lnTo>
                    <a:lnTo>
                      <a:pt x="16" y="6"/>
                    </a:lnTo>
                    <a:lnTo>
                      <a:pt x="22" y="4"/>
                    </a:lnTo>
                    <a:lnTo>
                      <a:pt x="30"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F52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5" name="Freeform 32">
                <a:extLst>
                  <a:ext uri="{FF2B5EF4-FFF2-40B4-BE49-F238E27FC236}">
                    <a16:creationId xmlns:a16="http://schemas.microsoft.com/office/drawing/2014/main" id="{AB8BF349-4EEA-6D0B-A60F-7DE53E0B205D}"/>
                  </a:ext>
                </a:extLst>
              </p:cNvPr>
              <p:cNvSpPr>
                <a:spLocks/>
              </p:cNvSpPr>
              <p:nvPr/>
            </p:nvSpPr>
            <p:spPr bwMode="auto">
              <a:xfrm>
                <a:off x="5499100" y="3113088"/>
                <a:ext cx="400050" cy="771525"/>
              </a:xfrm>
              <a:custGeom>
                <a:avLst/>
                <a:gdLst>
                  <a:gd name="T0" fmla="*/ 162 w 252"/>
                  <a:gd name="T1" fmla="*/ 486 h 486"/>
                  <a:gd name="T2" fmla="*/ 162 w 252"/>
                  <a:gd name="T3" fmla="*/ 270 h 486"/>
                  <a:gd name="T4" fmla="*/ 234 w 252"/>
                  <a:gd name="T5" fmla="*/ 270 h 486"/>
                  <a:gd name="T6" fmla="*/ 252 w 252"/>
                  <a:gd name="T7" fmla="*/ 180 h 486"/>
                  <a:gd name="T8" fmla="*/ 162 w 252"/>
                  <a:gd name="T9" fmla="*/ 180 h 486"/>
                  <a:gd name="T10" fmla="*/ 162 w 252"/>
                  <a:gd name="T11" fmla="*/ 144 h 486"/>
                  <a:gd name="T12" fmla="*/ 162 w 252"/>
                  <a:gd name="T13" fmla="*/ 144 h 486"/>
                  <a:gd name="T14" fmla="*/ 164 w 252"/>
                  <a:gd name="T15" fmla="*/ 132 h 486"/>
                  <a:gd name="T16" fmla="*/ 166 w 252"/>
                  <a:gd name="T17" fmla="*/ 122 h 486"/>
                  <a:gd name="T18" fmla="*/ 170 w 252"/>
                  <a:gd name="T19" fmla="*/ 112 h 486"/>
                  <a:gd name="T20" fmla="*/ 176 w 252"/>
                  <a:gd name="T21" fmla="*/ 104 h 486"/>
                  <a:gd name="T22" fmla="*/ 184 w 252"/>
                  <a:gd name="T23" fmla="*/ 98 h 486"/>
                  <a:gd name="T24" fmla="*/ 192 w 252"/>
                  <a:gd name="T25" fmla="*/ 94 h 486"/>
                  <a:gd name="T26" fmla="*/ 204 w 252"/>
                  <a:gd name="T27" fmla="*/ 92 h 486"/>
                  <a:gd name="T28" fmla="*/ 216 w 252"/>
                  <a:gd name="T29" fmla="*/ 90 h 486"/>
                  <a:gd name="T30" fmla="*/ 252 w 252"/>
                  <a:gd name="T31" fmla="*/ 90 h 486"/>
                  <a:gd name="T32" fmla="*/ 252 w 252"/>
                  <a:gd name="T33" fmla="*/ 0 h 486"/>
                  <a:gd name="T34" fmla="*/ 252 w 252"/>
                  <a:gd name="T35" fmla="*/ 0 h 486"/>
                  <a:gd name="T36" fmla="*/ 180 w 252"/>
                  <a:gd name="T37" fmla="*/ 0 h 486"/>
                  <a:gd name="T38" fmla="*/ 180 w 252"/>
                  <a:gd name="T39" fmla="*/ 0 h 486"/>
                  <a:gd name="T40" fmla="*/ 168 w 252"/>
                  <a:gd name="T41" fmla="*/ 2 h 486"/>
                  <a:gd name="T42" fmla="*/ 156 w 252"/>
                  <a:gd name="T43" fmla="*/ 4 h 486"/>
                  <a:gd name="T44" fmla="*/ 146 w 252"/>
                  <a:gd name="T45" fmla="*/ 6 h 486"/>
                  <a:gd name="T46" fmla="*/ 136 w 252"/>
                  <a:gd name="T47" fmla="*/ 10 h 486"/>
                  <a:gd name="T48" fmla="*/ 126 w 252"/>
                  <a:gd name="T49" fmla="*/ 16 h 486"/>
                  <a:gd name="T50" fmla="*/ 118 w 252"/>
                  <a:gd name="T51" fmla="*/ 22 h 486"/>
                  <a:gd name="T52" fmla="*/ 102 w 252"/>
                  <a:gd name="T53" fmla="*/ 36 h 486"/>
                  <a:gd name="T54" fmla="*/ 90 w 252"/>
                  <a:gd name="T55" fmla="*/ 54 h 486"/>
                  <a:gd name="T56" fmla="*/ 80 w 252"/>
                  <a:gd name="T57" fmla="*/ 76 h 486"/>
                  <a:gd name="T58" fmla="*/ 74 w 252"/>
                  <a:gd name="T59" fmla="*/ 100 h 486"/>
                  <a:gd name="T60" fmla="*/ 72 w 252"/>
                  <a:gd name="T61" fmla="*/ 126 h 486"/>
                  <a:gd name="T62" fmla="*/ 72 w 252"/>
                  <a:gd name="T63" fmla="*/ 180 h 486"/>
                  <a:gd name="T64" fmla="*/ 0 w 252"/>
                  <a:gd name="T65" fmla="*/ 180 h 486"/>
                  <a:gd name="T66" fmla="*/ 0 w 252"/>
                  <a:gd name="T67" fmla="*/ 270 h 486"/>
                  <a:gd name="T68" fmla="*/ 72 w 252"/>
                  <a:gd name="T69" fmla="*/ 270 h 486"/>
                  <a:gd name="T70" fmla="*/ 72 w 252"/>
                  <a:gd name="T71" fmla="*/ 486 h 486"/>
                  <a:gd name="T72" fmla="*/ 162 w 252"/>
                  <a:gd name="T73" fmla="*/ 486 h 486"/>
                  <a:gd name="T74" fmla="*/ 162 w 252"/>
                  <a:gd name="T75"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486">
                    <a:moveTo>
                      <a:pt x="162" y="486"/>
                    </a:moveTo>
                    <a:lnTo>
                      <a:pt x="162" y="270"/>
                    </a:lnTo>
                    <a:lnTo>
                      <a:pt x="234" y="270"/>
                    </a:lnTo>
                    <a:lnTo>
                      <a:pt x="252" y="180"/>
                    </a:lnTo>
                    <a:lnTo>
                      <a:pt x="162" y="180"/>
                    </a:lnTo>
                    <a:lnTo>
                      <a:pt x="162" y="144"/>
                    </a:lnTo>
                    <a:lnTo>
                      <a:pt x="162" y="144"/>
                    </a:lnTo>
                    <a:lnTo>
                      <a:pt x="164" y="132"/>
                    </a:lnTo>
                    <a:lnTo>
                      <a:pt x="166" y="122"/>
                    </a:lnTo>
                    <a:lnTo>
                      <a:pt x="170" y="112"/>
                    </a:lnTo>
                    <a:lnTo>
                      <a:pt x="176" y="104"/>
                    </a:lnTo>
                    <a:lnTo>
                      <a:pt x="184" y="98"/>
                    </a:lnTo>
                    <a:lnTo>
                      <a:pt x="192" y="94"/>
                    </a:lnTo>
                    <a:lnTo>
                      <a:pt x="204" y="92"/>
                    </a:lnTo>
                    <a:lnTo>
                      <a:pt x="216" y="90"/>
                    </a:lnTo>
                    <a:lnTo>
                      <a:pt x="252" y="90"/>
                    </a:lnTo>
                    <a:lnTo>
                      <a:pt x="252" y="0"/>
                    </a:lnTo>
                    <a:lnTo>
                      <a:pt x="252" y="0"/>
                    </a:lnTo>
                    <a:lnTo>
                      <a:pt x="180" y="0"/>
                    </a:lnTo>
                    <a:lnTo>
                      <a:pt x="180" y="0"/>
                    </a:lnTo>
                    <a:lnTo>
                      <a:pt x="168" y="2"/>
                    </a:lnTo>
                    <a:lnTo>
                      <a:pt x="156" y="4"/>
                    </a:lnTo>
                    <a:lnTo>
                      <a:pt x="146" y="6"/>
                    </a:lnTo>
                    <a:lnTo>
                      <a:pt x="136" y="10"/>
                    </a:lnTo>
                    <a:lnTo>
                      <a:pt x="126" y="16"/>
                    </a:lnTo>
                    <a:lnTo>
                      <a:pt x="118" y="22"/>
                    </a:lnTo>
                    <a:lnTo>
                      <a:pt x="102" y="36"/>
                    </a:lnTo>
                    <a:lnTo>
                      <a:pt x="90" y="54"/>
                    </a:lnTo>
                    <a:lnTo>
                      <a:pt x="80" y="76"/>
                    </a:lnTo>
                    <a:lnTo>
                      <a:pt x="74" y="100"/>
                    </a:lnTo>
                    <a:lnTo>
                      <a:pt x="72" y="126"/>
                    </a:lnTo>
                    <a:lnTo>
                      <a:pt x="72" y="180"/>
                    </a:lnTo>
                    <a:lnTo>
                      <a:pt x="0" y="180"/>
                    </a:lnTo>
                    <a:lnTo>
                      <a:pt x="0" y="270"/>
                    </a:lnTo>
                    <a:lnTo>
                      <a:pt x="72" y="270"/>
                    </a:lnTo>
                    <a:lnTo>
                      <a:pt x="72" y="486"/>
                    </a:lnTo>
                    <a:lnTo>
                      <a:pt x="162" y="486"/>
                    </a:lnTo>
                    <a:lnTo>
                      <a:pt x="162" y="4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7" name="Group 6">
              <a:extLst>
                <a:ext uri="{FF2B5EF4-FFF2-40B4-BE49-F238E27FC236}">
                  <a16:creationId xmlns:a16="http://schemas.microsoft.com/office/drawing/2014/main" id="{20EB4C36-A30C-D98C-2888-7DA4AF05A1AE}"/>
                </a:ext>
              </a:extLst>
            </p:cNvPr>
            <p:cNvGrpSpPr/>
            <p:nvPr/>
          </p:nvGrpSpPr>
          <p:grpSpPr>
            <a:xfrm>
              <a:off x="369827" y="5206304"/>
              <a:ext cx="390295" cy="390295"/>
              <a:chOff x="3127375" y="2970213"/>
              <a:chExt cx="914400" cy="914400"/>
            </a:xfrm>
          </p:grpSpPr>
          <p:sp>
            <p:nvSpPr>
              <p:cNvPr id="9" name="Freeform 26">
                <a:extLst>
                  <a:ext uri="{FF2B5EF4-FFF2-40B4-BE49-F238E27FC236}">
                    <a16:creationId xmlns:a16="http://schemas.microsoft.com/office/drawing/2014/main" id="{DA135D10-BBA0-2A26-52EE-E70F55DC7A40}"/>
                  </a:ext>
                </a:extLst>
              </p:cNvPr>
              <p:cNvSpPr>
                <a:spLocks/>
              </p:cNvSpPr>
              <p:nvPr/>
            </p:nvSpPr>
            <p:spPr bwMode="auto">
              <a:xfrm>
                <a:off x="3127375" y="2970213"/>
                <a:ext cx="914400" cy="914400"/>
              </a:xfrm>
              <a:custGeom>
                <a:avLst/>
                <a:gdLst>
                  <a:gd name="T0" fmla="*/ 534 w 576"/>
                  <a:gd name="T1" fmla="*/ 0 h 576"/>
                  <a:gd name="T2" fmla="*/ 42 w 576"/>
                  <a:gd name="T3" fmla="*/ 0 h 576"/>
                  <a:gd name="T4" fmla="*/ 42 w 576"/>
                  <a:gd name="T5" fmla="*/ 0 h 576"/>
                  <a:gd name="T6" fmla="*/ 34 w 576"/>
                  <a:gd name="T7" fmla="*/ 2 h 576"/>
                  <a:gd name="T8" fmla="*/ 26 w 576"/>
                  <a:gd name="T9" fmla="*/ 4 h 576"/>
                  <a:gd name="T10" fmla="*/ 18 w 576"/>
                  <a:gd name="T11" fmla="*/ 8 h 576"/>
                  <a:gd name="T12" fmla="*/ 12 w 576"/>
                  <a:gd name="T13" fmla="*/ 12 h 576"/>
                  <a:gd name="T14" fmla="*/ 8 w 576"/>
                  <a:gd name="T15" fmla="*/ 20 h 576"/>
                  <a:gd name="T16" fmla="*/ 4 w 576"/>
                  <a:gd name="T17" fmla="*/ 26 h 576"/>
                  <a:gd name="T18" fmla="*/ 0 w 576"/>
                  <a:gd name="T19" fmla="*/ 34 h 576"/>
                  <a:gd name="T20" fmla="*/ 0 w 576"/>
                  <a:gd name="T21" fmla="*/ 42 h 576"/>
                  <a:gd name="T22" fmla="*/ 0 w 576"/>
                  <a:gd name="T23" fmla="*/ 536 h 576"/>
                  <a:gd name="T24" fmla="*/ 0 w 576"/>
                  <a:gd name="T25" fmla="*/ 536 h 576"/>
                  <a:gd name="T26" fmla="*/ 0 w 576"/>
                  <a:gd name="T27" fmla="*/ 544 h 576"/>
                  <a:gd name="T28" fmla="*/ 4 w 576"/>
                  <a:gd name="T29" fmla="*/ 552 h 576"/>
                  <a:gd name="T30" fmla="*/ 8 w 576"/>
                  <a:gd name="T31" fmla="*/ 558 h 576"/>
                  <a:gd name="T32" fmla="*/ 12 w 576"/>
                  <a:gd name="T33" fmla="*/ 564 h 576"/>
                  <a:gd name="T34" fmla="*/ 18 w 576"/>
                  <a:gd name="T35" fmla="*/ 570 h 576"/>
                  <a:gd name="T36" fmla="*/ 26 w 576"/>
                  <a:gd name="T37" fmla="*/ 574 h 576"/>
                  <a:gd name="T38" fmla="*/ 34 w 576"/>
                  <a:gd name="T39" fmla="*/ 576 h 576"/>
                  <a:gd name="T40" fmla="*/ 42 w 576"/>
                  <a:gd name="T41" fmla="*/ 576 h 576"/>
                  <a:gd name="T42" fmla="*/ 534 w 576"/>
                  <a:gd name="T43" fmla="*/ 576 h 576"/>
                  <a:gd name="T44" fmla="*/ 534 w 576"/>
                  <a:gd name="T45" fmla="*/ 576 h 576"/>
                  <a:gd name="T46" fmla="*/ 542 w 576"/>
                  <a:gd name="T47" fmla="*/ 576 h 576"/>
                  <a:gd name="T48" fmla="*/ 550 w 576"/>
                  <a:gd name="T49" fmla="*/ 574 h 576"/>
                  <a:gd name="T50" fmla="*/ 558 w 576"/>
                  <a:gd name="T51" fmla="*/ 570 h 576"/>
                  <a:gd name="T52" fmla="*/ 564 w 576"/>
                  <a:gd name="T53" fmla="*/ 564 h 576"/>
                  <a:gd name="T54" fmla="*/ 568 w 576"/>
                  <a:gd name="T55" fmla="*/ 558 h 576"/>
                  <a:gd name="T56" fmla="*/ 572 w 576"/>
                  <a:gd name="T57" fmla="*/ 552 h 576"/>
                  <a:gd name="T58" fmla="*/ 576 w 576"/>
                  <a:gd name="T59" fmla="*/ 544 h 576"/>
                  <a:gd name="T60" fmla="*/ 576 w 576"/>
                  <a:gd name="T61" fmla="*/ 536 h 576"/>
                  <a:gd name="T62" fmla="*/ 576 w 576"/>
                  <a:gd name="T63" fmla="*/ 42 h 576"/>
                  <a:gd name="T64" fmla="*/ 576 w 576"/>
                  <a:gd name="T65" fmla="*/ 42 h 576"/>
                  <a:gd name="T66" fmla="*/ 576 w 576"/>
                  <a:gd name="T67" fmla="*/ 34 h 576"/>
                  <a:gd name="T68" fmla="*/ 572 w 576"/>
                  <a:gd name="T69" fmla="*/ 26 h 576"/>
                  <a:gd name="T70" fmla="*/ 568 w 576"/>
                  <a:gd name="T71" fmla="*/ 20 h 576"/>
                  <a:gd name="T72" fmla="*/ 564 w 576"/>
                  <a:gd name="T73" fmla="*/ 12 h 576"/>
                  <a:gd name="T74" fmla="*/ 558 w 576"/>
                  <a:gd name="T75" fmla="*/ 8 h 576"/>
                  <a:gd name="T76" fmla="*/ 550 w 576"/>
                  <a:gd name="T77" fmla="*/ 4 h 576"/>
                  <a:gd name="T78" fmla="*/ 542 w 576"/>
                  <a:gd name="T79" fmla="*/ 2 h 576"/>
                  <a:gd name="T80" fmla="*/ 534 w 576"/>
                  <a:gd name="T81" fmla="*/ 0 h 576"/>
                  <a:gd name="T82" fmla="*/ 534 w 576"/>
                  <a:gd name="T83"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34" y="0"/>
                    </a:moveTo>
                    <a:lnTo>
                      <a:pt x="42" y="0"/>
                    </a:lnTo>
                    <a:lnTo>
                      <a:pt x="42" y="0"/>
                    </a:lnTo>
                    <a:lnTo>
                      <a:pt x="34" y="2"/>
                    </a:lnTo>
                    <a:lnTo>
                      <a:pt x="26" y="4"/>
                    </a:lnTo>
                    <a:lnTo>
                      <a:pt x="18" y="8"/>
                    </a:lnTo>
                    <a:lnTo>
                      <a:pt x="12" y="12"/>
                    </a:lnTo>
                    <a:lnTo>
                      <a:pt x="8" y="20"/>
                    </a:lnTo>
                    <a:lnTo>
                      <a:pt x="4" y="26"/>
                    </a:lnTo>
                    <a:lnTo>
                      <a:pt x="0" y="34"/>
                    </a:lnTo>
                    <a:lnTo>
                      <a:pt x="0" y="42"/>
                    </a:lnTo>
                    <a:lnTo>
                      <a:pt x="0" y="536"/>
                    </a:lnTo>
                    <a:lnTo>
                      <a:pt x="0" y="536"/>
                    </a:lnTo>
                    <a:lnTo>
                      <a:pt x="0" y="544"/>
                    </a:lnTo>
                    <a:lnTo>
                      <a:pt x="4" y="552"/>
                    </a:lnTo>
                    <a:lnTo>
                      <a:pt x="8" y="558"/>
                    </a:lnTo>
                    <a:lnTo>
                      <a:pt x="12" y="564"/>
                    </a:lnTo>
                    <a:lnTo>
                      <a:pt x="18" y="570"/>
                    </a:lnTo>
                    <a:lnTo>
                      <a:pt x="26" y="574"/>
                    </a:lnTo>
                    <a:lnTo>
                      <a:pt x="34" y="576"/>
                    </a:lnTo>
                    <a:lnTo>
                      <a:pt x="42" y="576"/>
                    </a:lnTo>
                    <a:lnTo>
                      <a:pt x="534" y="576"/>
                    </a:lnTo>
                    <a:lnTo>
                      <a:pt x="534" y="576"/>
                    </a:lnTo>
                    <a:lnTo>
                      <a:pt x="542" y="576"/>
                    </a:lnTo>
                    <a:lnTo>
                      <a:pt x="550" y="574"/>
                    </a:lnTo>
                    <a:lnTo>
                      <a:pt x="558" y="570"/>
                    </a:lnTo>
                    <a:lnTo>
                      <a:pt x="564" y="564"/>
                    </a:lnTo>
                    <a:lnTo>
                      <a:pt x="568" y="558"/>
                    </a:lnTo>
                    <a:lnTo>
                      <a:pt x="572" y="552"/>
                    </a:lnTo>
                    <a:lnTo>
                      <a:pt x="576" y="544"/>
                    </a:lnTo>
                    <a:lnTo>
                      <a:pt x="576" y="536"/>
                    </a:lnTo>
                    <a:lnTo>
                      <a:pt x="576" y="42"/>
                    </a:lnTo>
                    <a:lnTo>
                      <a:pt x="576" y="42"/>
                    </a:lnTo>
                    <a:lnTo>
                      <a:pt x="576" y="34"/>
                    </a:lnTo>
                    <a:lnTo>
                      <a:pt x="572" y="26"/>
                    </a:lnTo>
                    <a:lnTo>
                      <a:pt x="568" y="20"/>
                    </a:lnTo>
                    <a:lnTo>
                      <a:pt x="564" y="12"/>
                    </a:lnTo>
                    <a:lnTo>
                      <a:pt x="558" y="8"/>
                    </a:lnTo>
                    <a:lnTo>
                      <a:pt x="550" y="4"/>
                    </a:lnTo>
                    <a:lnTo>
                      <a:pt x="542" y="2"/>
                    </a:lnTo>
                    <a:lnTo>
                      <a:pt x="534" y="0"/>
                    </a:lnTo>
                    <a:lnTo>
                      <a:pt x="534" y="0"/>
                    </a:lnTo>
                    <a:close/>
                  </a:path>
                </a:pathLst>
              </a:custGeom>
              <a:solidFill>
                <a:srgbClr val="00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0" name="Freeform 27">
                <a:extLst>
                  <a:ext uri="{FF2B5EF4-FFF2-40B4-BE49-F238E27FC236}">
                    <a16:creationId xmlns:a16="http://schemas.microsoft.com/office/drawing/2014/main" id="{991FFCA5-AD26-9C1F-04DD-912C7B43F9D1}"/>
                  </a:ext>
                </a:extLst>
              </p:cNvPr>
              <p:cNvSpPr>
                <a:spLocks noEditPoints="1"/>
              </p:cNvSpPr>
              <p:nvPr/>
            </p:nvSpPr>
            <p:spPr bwMode="auto">
              <a:xfrm>
                <a:off x="3251200" y="3097213"/>
                <a:ext cx="158750" cy="654050"/>
              </a:xfrm>
              <a:custGeom>
                <a:avLst/>
                <a:gdLst>
                  <a:gd name="T0" fmla="*/ 8 w 100"/>
                  <a:gd name="T1" fmla="*/ 136 h 412"/>
                  <a:gd name="T2" fmla="*/ 92 w 100"/>
                  <a:gd name="T3" fmla="*/ 136 h 412"/>
                  <a:gd name="T4" fmla="*/ 92 w 100"/>
                  <a:gd name="T5" fmla="*/ 412 h 412"/>
                  <a:gd name="T6" fmla="*/ 8 w 100"/>
                  <a:gd name="T7" fmla="*/ 412 h 412"/>
                  <a:gd name="T8" fmla="*/ 8 w 100"/>
                  <a:gd name="T9" fmla="*/ 136 h 412"/>
                  <a:gd name="T10" fmla="*/ 8 w 100"/>
                  <a:gd name="T11" fmla="*/ 136 h 412"/>
                  <a:gd name="T12" fmla="*/ 50 w 100"/>
                  <a:gd name="T13" fmla="*/ 0 h 412"/>
                  <a:gd name="T14" fmla="*/ 50 w 100"/>
                  <a:gd name="T15" fmla="*/ 0 h 412"/>
                  <a:gd name="T16" fmla="*/ 60 w 100"/>
                  <a:gd name="T17" fmla="*/ 2 h 412"/>
                  <a:gd name="T18" fmla="*/ 70 w 100"/>
                  <a:gd name="T19" fmla="*/ 4 h 412"/>
                  <a:gd name="T20" fmla="*/ 78 w 100"/>
                  <a:gd name="T21" fmla="*/ 8 h 412"/>
                  <a:gd name="T22" fmla="*/ 86 w 100"/>
                  <a:gd name="T23" fmla="*/ 14 h 412"/>
                  <a:gd name="T24" fmla="*/ 92 w 100"/>
                  <a:gd name="T25" fmla="*/ 22 h 412"/>
                  <a:gd name="T26" fmla="*/ 96 w 100"/>
                  <a:gd name="T27" fmla="*/ 30 h 412"/>
                  <a:gd name="T28" fmla="*/ 98 w 100"/>
                  <a:gd name="T29" fmla="*/ 40 h 412"/>
                  <a:gd name="T30" fmla="*/ 100 w 100"/>
                  <a:gd name="T31" fmla="*/ 50 h 412"/>
                  <a:gd name="T32" fmla="*/ 100 w 100"/>
                  <a:gd name="T33" fmla="*/ 50 h 412"/>
                  <a:gd name="T34" fmla="*/ 98 w 100"/>
                  <a:gd name="T35" fmla="*/ 60 h 412"/>
                  <a:gd name="T36" fmla="*/ 96 w 100"/>
                  <a:gd name="T37" fmla="*/ 68 h 412"/>
                  <a:gd name="T38" fmla="*/ 92 w 100"/>
                  <a:gd name="T39" fmla="*/ 78 h 412"/>
                  <a:gd name="T40" fmla="*/ 86 w 100"/>
                  <a:gd name="T41" fmla="*/ 84 h 412"/>
                  <a:gd name="T42" fmla="*/ 78 w 100"/>
                  <a:gd name="T43" fmla="*/ 90 h 412"/>
                  <a:gd name="T44" fmla="*/ 70 w 100"/>
                  <a:gd name="T45" fmla="*/ 96 h 412"/>
                  <a:gd name="T46" fmla="*/ 60 w 100"/>
                  <a:gd name="T47" fmla="*/ 98 h 412"/>
                  <a:gd name="T48" fmla="*/ 50 w 100"/>
                  <a:gd name="T49" fmla="*/ 100 h 412"/>
                  <a:gd name="T50" fmla="*/ 50 w 100"/>
                  <a:gd name="T51" fmla="*/ 100 h 412"/>
                  <a:gd name="T52" fmla="*/ 40 w 100"/>
                  <a:gd name="T53" fmla="*/ 98 h 412"/>
                  <a:gd name="T54" fmla="*/ 30 w 100"/>
                  <a:gd name="T55" fmla="*/ 96 h 412"/>
                  <a:gd name="T56" fmla="*/ 22 w 100"/>
                  <a:gd name="T57" fmla="*/ 90 h 412"/>
                  <a:gd name="T58" fmla="*/ 16 w 100"/>
                  <a:gd name="T59" fmla="*/ 84 h 412"/>
                  <a:gd name="T60" fmla="*/ 10 w 100"/>
                  <a:gd name="T61" fmla="*/ 78 h 412"/>
                  <a:gd name="T62" fmla="*/ 4 w 100"/>
                  <a:gd name="T63" fmla="*/ 68 h 412"/>
                  <a:gd name="T64" fmla="*/ 2 w 100"/>
                  <a:gd name="T65" fmla="*/ 60 h 412"/>
                  <a:gd name="T66" fmla="*/ 0 w 100"/>
                  <a:gd name="T67" fmla="*/ 50 h 412"/>
                  <a:gd name="T68" fmla="*/ 0 w 100"/>
                  <a:gd name="T69" fmla="*/ 50 h 412"/>
                  <a:gd name="T70" fmla="*/ 2 w 100"/>
                  <a:gd name="T71" fmla="*/ 40 h 412"/>
                  <a:gd name="T72" fmla="*/ 4 w 100"/>
                  <a:gd name="T73" fmla="*/ 30 h 412"/>
                  <a:gd name="T74" fmla="*/ 10 w 100"/>
                  <a:gd name="T75" fmla="*/ 22 h 412"/>
                  <a:gd name="T76" fmla="*/ 16 w 100"/>
                  <a:gd name="T77" fmla="*/ 14 h 412"/>
                  <a:gd name="T78" fmla="*/ 22 w 100"/>
                  <a:gd name="T79" fmla="*/ 8 h 412"/>
                  <a:gd name="T80" fmla="*/ 30 w 100"/>
                  <a:gd name="T81" fmla="*/ 4 h 412"/>
                  <a:gd name="T82" fmla="*/ 40 w 100"/>
                  <a:gd name="T83" fmla="*/ 2 h 412"/>
                  <a:gd name="T84" fmla="*/ 50 w 100"/>
                  <a:gd name="T8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412">
                    <a:moveTo>
                      <a:pt x="8" y="136"/>
                    </a:moveTo>
                    <a:lnTo>
                      <a:pt x="92" y="136"/>
                    </a:lnTo>
                    <a:lnTo>
                      <a:pt x="92" y="412"/>
                    </a:lnTo>
                    <a:lnTo>
                      <a:pt x="8" y="412"/>
                    </a:lnTo>
                    <a:lnTo>
                      <a:pt x="8" y="136"/>
                    </a:lnTo>
                    <a:lnTo>
                      <a:pt x="8" y="136"/>
                    </a:lnTo>
                    <a:close/>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1" name="Freeform 28">
                <a:extLst>
                  <a:ext uri="{FF2B5EF4-FFF2-40B4-BE49-F238E27FC236}">
                    <a16:creationId xmlns:a16="http://schemas.microsoft.com/office/drawing/2014/main" id="{B8547E22-3800-7FF3-9CB3-CEF4320652B3}"/>
                  </a:ext>
                </a:extLst>
              </p:cNvPr>
              <p:cNvSpPr>
                <a:spLocks/>
              </p:cNvSpPr>
              <p:nvPr/>
            </p:nvSpPr>
            <p:spPr bwMode="auto">
              <a:xfrm>
                <a:off x="3263900" y="3313113"/>
                <a:ext cx="133350" cy="438150"/>
              </a:xfrm>
              <a:custGeom>
                <a:avLst/>
                <a:gdLst>
                  <a:gd name="T0" fmla="*/ 0 w 84"/>
                  <a:gd name="T1" fmla="*/ 0 h 276"/>
                  <a:gd name="T2" fmla="*/ 84 w 84"/>
                  <a:gd name="T3" fmla="*/ 0 h 276"/>
                  <a:gd name="T4" fmla="*/ 84 w 84"/>
                  <a:gd name="T5" fmla="*/ 276 h 276"/>
                  <a:gd name="T6" fmla="*/ 0 w 84"/>
                  <a:gd name="T7" fmla="*/ 276 h 276"/>
                  <a:gd name="T8" fmla="*/ 0 w 84"/>
                  <a:gd name="T9" fmla="*/ 0 h 276"/>
                  <a:gd name="T10" fmla="*/ 0 w 84"/>
                  <a:gd name="T11" fmla="*/ 0 h 276"/>
                </a:gdLst>
                <a:ahLst/>
                <a:cxnLst>
                  <a:cxn ang="0">
                    <a:pos x="T0" y="T1"/>
                  </a:cxn>
                  <a:cxn ang="0">
                    <a:pos x="T2" y="T3"/>
                  </a:cxn>
                  <a:cxn ang="0">
                    <a:pos x="T4" y="T5"/>
                  </a:cxn>
                  <a:cxn ang="0">
                    <a:pos x="T6" y="T7"/>
                  </a:cxn>
                  <a:cxn ang="0">
                    <a:pos x="T8" y="T9"/>
                  </a:cxn>
                  <a:cxn ang="0">
                    <a:pos x="T10" y="T11"/>
                  </a:cxn>
                </a:cxnLst>
                <a:rect l="0" t="0" r="r" b="b"/>
                <a:pathLst>
                  <a:path w="84" h="276">
                    <a:moveTo>
                      <a:pt x="0" y="0"/>
                    </a:moveTo>
                    <a:lnTo>
                      <a:pt x="84" y="0"/>
                    </a:lnTo>
                    <a:lnTo>
                      <a:pt x="84" y="276"/>
                    </a:lnTo>
                    <a:lnTo>
                      <a:pt x="0" y="27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2" name="Freeform 29">
                <a:extLst>
                  <a:ext uri="{FF2B5EF4-FFF2-40B4-BE49-F238E27FC236}">
                    <a16:creationId xmlns:a16="http://schemas.microsoft.com/office/drawing/2014/main" id="{C9422982-92C5-7E16-4B33-CDEA3377D596}"/>
                  </a:ext>
                </a:extLst>
              </p:cNvPr>
              <p:cNvSpPr>
                <a:spLocks/>
              </p:cNvSpPr>
              <p:nvPr/>
            </p:nvSpPr>
            <p:spPr bwMode="auto">
              <a:xfrm>
                <a:off x="3251200" y="3097213"/>
                <a:ext cx="158750" cy="158750"/>
              </a:xfrm>
              <a:custGeom>
                <a:avLst/>
                <a:gdLst>
                  <a:gd name="T0" fmla="*/ 50 w 100"/>
                  <a:gd name="T1" fmla="*/ 0 h 100"/>
                  <a:gd name="T2" fmla="*/ 50 w 100"/>
                  <a:gd name="T3" fmla="*/ 0 h 100"/>
                  <a:gd name="T4" fmla="*/ 60 w 100"/>
                  <a:gd name="T5" fmla="*/ 2 h 100"/>
                  <a:gd name="T6" fmla="*/ 70 w 100"/>
                  <a:gd name="T7" fmla="*/ 4 h 100"/>
                  <a:gd name="T8" fmla="*/ 78 w 100"/>
                  <a:gd name="T9" fmla="*/ 8 h 100"/>
                  <a:gd name="T10" fmla="*/ 86 w 100"/>
                  <a:gd name="T11" fmla="*/ 14 h 100"/>
                  <a:gd name="T12" fmla="*/ 92 w 100"/>
                  <a:gd name="T13" fmla="*/ 22 h 100"/>
                  <a:gd name="T14" fmla="*/ 96 w 100"/>
                  <a:gd name="T15" fmla="*/ 30 h 100"/>
                  <a:gd name="T16" fmla="*/ 98 w 100"/>
                  <a:gd name="T17" fmla="*/ 40 h 100"/>
                  <a:gd name="T18" fmla="*/ 100 w 100"/>
                  <a:gd name="T19" fmla="*/ 50 h 100"/>
                  <a:gd name="T20" fmla="*/ 100 w 100"/>
                  <a:gd name="T21" fmla="*/ 50 h 100"/>
                  <a:gd name="T22" fmla="*/ 98 w 100"/>
                  <a:gd name="T23" fmla="*/ 60 h 100"/>
                  <a:gd name="T24" fmla="*/ 96 w 100"/>
                  <a:gd name="T25" fmla="*/ 68 h 100"/>
                  <a:gd name="T26" fmla="*/ 92 w 100"/>
                  <a:gd name="T27" fmla="*/ 78 h 100"/>
                  <a:gd name="T28" fmla="*/ 86 w 100"/>
                  <a:gd name="T29" fmla="*/ 84 h 100"/>
                  <a:gd name="T30" fmla="*/ 78 w 100"/>
                  <a:gd name="T31" fmla="*/ 90 h 100"/>
                  <a:gd name="T32" fmla="*/ 70 w 100"/>
                  <a:gd name="T33" fmla="*/ 96 h 100"/>
                  <a:gd name="T34" fmla="*/ 60 w 100"/>
                  <a:gd name="T35" fmla="*/ 98 h 100"/>
                  <a:gd name="T36" fmla="*/ 50 w 100"/>
                  <a:gd name="T37" fmla="*/ 100 h 100"/>
                  <a:gd name="T38" fmla="*/ 50 w 100"/>
                  <a:gd name="T39" fmla="*/ 100 h 100"/>
                  <a:gd name="T40" fmla="*/ 40 w 100"/>
                  <a:gd name="T41" fmla="*/ 98 h 100"/>
                  <a:gd name="T42" fmla="*/ 30 w 100"/>
                  <a:gd name="T43" fmla="*/ 96 h 100"/>
                  <a:gd name="T44" fmla="*/ 22 w 100"/>
                  <a:gd name="T45" fmla="*/ 90 h 100"/>
                  <a:gd name="T46" fmla="*/ 16 w 100"/>
                  <a:gd name="T47" fmla="*/ 84 h 100"/>
                  <a:gd name="T48" fmla="*/ 10 w 100"/>
                  <a:gd name="T49" fmla="*/ 78 h 100"/>
                  <a:gd name="T50" fmla="*/ 4 w 100"/>
                  <a:gd name="T51" fmla="*/ 68 h 100"/>
                  <a:gd name="T52" fmla="*/ 2 w 100"/>
                  <a:gd name="T53" fmla="*/ 60 h 100"/>
                  <a:gd name="T54" fmla="*/ 0 w 100"/>
                  <a:gd name="T55" fmla="*/ 50 h 100"/>
                  <a:gd name="T56" fmla="*/ 0 w 100"/>
                  <a:gd name="T57" fmla="*/ 50 h 100"/>
                  <a:gd name="T58" fmla="*/ 2 w 100"/>
                  <a:gd name="T59" fmla="*/ 40 h 100"/>
                  <a:gd name="T60" fmla="*/ 4 w 100"/>
                  <a:gd name="T61" fmla="*/ 30 h 100"/>
                  <a:gd name="T62" fmla="*/ 10 w 100"/>
                  <a:gd name="T63" fmla="*/ 22 h 100"/>
                  <a:gd name="T64" fmla="*/ 16 w 100"/>
                  <a:gd name="T65" fmla="*/ 14 h 100"/>
                  <a:gd name="T66" fmla="*/ 22 w 100"/>
                  <a:gd name="T67" fmla="*/ 8 h 100"/>
                  <a:gd name="T68" fmla="*/ 30 w 100"/>
                  <a:gd name="T69" fmla="*/ 4 h 100"/>
                  <a:gd name="T70" fmla="*/ 40 w 100"/>
                  <a:gd name="T71" fmla="*/ 2 h 100"/>
                  <a:gd name="T72" fmla="*/ 50 w 100"/>
                  <a:gd name="T7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00">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3" name="Freeform 30">
                <a:extLst>
                  <a:ext uri="{FF2B5EF4-FFF2-40B4-BE49-F238E27FC236}">
                    <a16:creationId xmlns:a16="http://schemas.microsoft.com/office/drawing/2014/main" id="{804A2D7F-C172-E13F-93BA-46CCE02E0A88}"/>
                  </a:ext>
                </a:extLst>
              </p:cNvPr>
              <p:cNvSpPr>
                <a:spLocks/>
              </p:cNvSpPr>
              <p:nvPr/>
            </p:nvSpPr>
            <p:spPr bwMode="auto">
              <a:xfrm>
                <a:off x="3482975" y="3303588"/>
                <a:ext cx="422275" cy="447675"/>
              </a:xfrm>
              <a:custGeom>
                <a:avLst/>
                <a:gdLst>
                  <a:gd name="T0" fmla="*/ 0 w 266"/>
                  <a:gd name="T1" fmla="*/ 6 h 282"/>
                  <a:gd name="T2" fmla="*/ 82 w 266"/>
                  <a:gd name="T3" fmla="*/ 6 h 282"/>
                  <a:gd name="T4" fmla="*/ 82 w 266"/>
                  <a:gd name="T5" fmla="*/ 44 h 282"/>
                  <a:gd name="T6" fmla="*/ 84 w 266"/>
                  <a:gd name="T7" fmla="*/ 44 h 282"/>
                  <a:gd name="T8" fmla="*/ 84 w 266"/>
                  <a:gd name="T9" fmla="*/ 44 h 282"/>
                  <a:gd name="T10" fmla="*/ 88 w 266"/>
                  <a:gd name="T11" fmla="*/ 36 h 282"/>
                  <a:gd name="T12" fmla="*/ 96 w 266"/>
                  <a:gd name="T13" fmla="*/ 28 h 282"/>
                  <a:gd name="T14" fmla="*/ 104 w 266"/>
                  <a:gd name="T15" fmla="*/ 20 h 282"/>
                  <a:gd name="T16" fmla="*/ 112 w 266"/>
                  <a:gd name="T17" fmla="*/ 14 h 282"/>
                  <a:gd name="T18" fmla="*/ 124 w 266"/>
                  <a:gd name="T19" fmla="*/ 8 h 282"/>
                  <a:gd name="T20" fmla="*/ 136 w 266"/>
                  <a:gd name="T21" fmla="*/ 4 h 282"/>
                  <a:gd name="T22" fmla="*/ 150 w 266"/>
                  <a:gd name="T23" fmla="*/ 0 h 282"/>
                  <a:gd name="T24" fmla="*/ 164 w 266"/>
                  <a:gd name="T25" fmla="*/ 0 h 282"/>
                  <a:gd name="T26" fmla="*/ 164 w 266"/>
                  <a:gd name="T27" fmla="*/ 0 h 282"/>
                  <a:gd name="T28" fmla="*/ 180 w 266"/>
                  <a:gd name="T29" fmla="*/ 0 h 282"/>
                  <a:gd name="T30" fmla="*/ 194 w 266"/>
                  <a:gd name="T31" fmla="*/ 2 h 282"/>
                  <a:gd name="T32" fmla="*/ 206 w 266"/>
                  <a:gd name="T33" fmla="*/ 6 h 282"/>
                  <a:gd name="T34" fmla="*/ 216 w 266"/>
                  <a:gd name="T35" fmla="*/ 10 h 282"/>
                  <a:gd name="T36" fmla="*/ 226 w 266"/>
                  <a:gd name="T37" fmla="*/ 16 h 282"/>
                  <a:gd name="T38" fmla="*/ 234 w 266"/>
                  <a:gd name="T39" fmla="*/ 22 h 282"/>
                  <a:gd name="T40" fmla="*/ 242 w 266"/>
                  <a:gd name="T41" fmla="*/ 30 h 282"/>
                  <a:gd name="T42" fmla="*/ 248 w 266"/>
                  <a:gd name="T43" fmla="*/ 38 h 282"/>
                  <a:gd name="T44" fmla="*/ 254 w 266"/>
                  <a:gd name="T45" fmla="*/ 46 h 282"/>
                  <a:gd name="T46" fmla="*/ 258 w 266"/>
                  <a:gd name="T47" fmla="*/ 56 h 282"/>
                  <a:gd name="T48" fmla="*/ 262 w 266"/>
                  <a:gd name="T49" fmla="*/ 80 h 282"/>
                  <a:gd name="T50" fmla="*/ 266 w 266"/>
                  <a:gd name="T51" fmla="*/ 104 h 282"/>
                  <a:gd name="T52" fmla="*/ 266 w 266"/>
                  <a:gd name="T53" fmla="*/ 130 h 282"/>
                  <a:gd name="T54" fmla="*/ 266 w 266"/>
                  <a:gd name="T55" fmla="*/ 282 h 282"/>
                  <a:gd name="T56" fmla="*/ 182 w 266"/>
                  <a:gd name="T57" fmla="*/ 282 h 282"/>
                  <a:gd name="T58" fmla="*/ 182 w 266"/>
                  <a:gd name="T59" fmla="*/ 148 h 282"/>
                  <a:gd name="T60" fmla="*/ 182 w 266"/>
                  <a:gd name="T61" fmla="*/ 148 h 282"/>
                  <a:gd name="T62" fmla="*/ 180 w 266"/>
                  <a:gd name="T63" fmla="*/ 124 h 282"/>
                  <a:gd name="T64" fmla="*/ 178 w 266"/>
                  <a:gd name="T65" fmla="*/ 110 h 282"/>
                  <a:gd name="T66" fmla="*/ 176 w 266"/>
                  <a:gd name="T67" fmla="*/ 100 h 282"/>
                  <a:gd name="T68" fmla="*/ 170 w 266"/>
                  <a:gd name="T69" fmla="*/ 90 h 282"/>
                  <a:gd name="T70" fmla="*/ 162 w 266"/>
                  <a:gd name="T71" fmla="*/ 82 h 282"/>
                  <a:gd name="T72" fmla="*/ 152 w 266"/>
                  <a:gd name="T73" fmla="*/ 76 h 282"/>
                  <a:gd name="T74" fmla="*/ 138 w 266"/>
                  <a:gd name="T75" fmla="*/ 76 h 282"/>
                  <a:gd name="T76" fmla="*/ 138 w 266"/>
                  <a:gd name="T77" fmla="*/ 76 h 282"/>
                  <a:gd name="T78" fmla="*/ 122 w 266"/>
                  <a:gd name="T79" fmla="*/ 76 h 282"/>
                  <a:gd name="T80" fmla="*/ 110 w 266"/>
                  <a:gd name="T81" fmla="*/ 82 h 282"/>
                  <a:gd name="T82" fmla="*/ 102 w 266"/>
                  <a:gd name="T83" fmla="*/ 88 h 282"/>
                  <a:gd name="T84" fmla="*/ 94 w 266"/>
                  <a:gd name="T85" fmla="*/ 96 h 282"/>
                  <a:gd name="T86" fmla="*/ 90 w 266"/>
                  <a:gd name="T87" fmla="*/ 108 h 282"/>
                  <a:gd name="T88" fmla="*/ 88 w 266"/>
                  <a:gd name="T89" fmla="*/ 120 h 282"/>
                  <a:gd name="T90" fmla="*/ 86 w 266"/>
                  <a:gd name="T91" fmla="*/ 146 h 282"/>
                  <a:gd name="T92" fmla="*/ 86 w 266"/>
                  <a:gd name="T93" fmla="*/ 282 h 282"/>
                  <a:gd name="T94" fmla="*/ 0 w 266"/>
                  <a:gd name="T95" fmla="*/ 282 h 282"/>
                  <a:gd name="T96" fmla="*/ 0 w 266"/>
                  <a:gd name="T97" fmla="*/ 6 h 282"/>
                  <a:gd name="T98" fmla="*/ 0 w 266"/>
                  <a:gd name="T99"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82">
                    <a:moveTo>
                      <a:pt x="0" y="6"/>
                    </a:moveTo>
                    <a:lnTo>
                      <a:pt x="82" y="6"/>
                    </a:lnTo>
                    <a:lnTo>
                      <a:pt x="82" y="44"/>
                    </a:lnTo>
                    <a:lnTo>
                      <a:pt x="84" y="44"/>
                    </a:lnTo>
                    <a:lnTo>
                      <a:pt x="84" y="44"/>
                    </a:lnTo>
                    <a:lnTo>
                      <a:pt x="88" y="36"/>
                    </a:lnTo>
                    <a:lnTo>
                      <a:pt x="96" y="28"/>
                    </a:lnTo>
                    <a:lnTo>
                      <a:pt x="104" y="20"/>
                    </a:lnTo>
                    <a:lnTo>
                      <a:pt x="112" y="14"/>
                    </a:lnTo>
                    <a:lnTo>
                      <a:pt x="124" y="8"/>
                    </a:lnTo>
                    <a:lnTo>
                      <a:pt x="136" y="4"/>
                    </a:lnTo>
                    <a:lnTo>
                      <a:pt x="150" y="0"/>
                    </a:lnTo>
                    <a:lnTo>
                      <a:pt x="164" y="0"/>
                    </a:lnTo>
                    <a:lnTo>
                      <a:pt x="164" y="0"/>
                    </a:lnTo>
                    <a:lnTo>
                      <a:pt x="180" y="0"/>
                    </a:lnTo>
                    <a:lnTo>
                      <a:pt x="194" y="2"/>
                    </a:lnTo>
                    <a:lnTo>
                      <a:pt x="206" y="6"/>
                    </a:lnTo>
                    <a:lnTo>
                      <a:pt x="216" y="10"/>
                    </a:lnTo>
                    <a:lnTo>
                      <a:pt x="226" y="16"/>
                    </a:lnTo>
                    <a:lnTo>
                      <a:pt x="234" y="22"/>
                    </a:lnTo>
                    <a:lnTo>
                      <a:pt x="242" y="30"/>
                    </a:lnTo>
                    <a:lnTo>
                      <a:pt x="248" y="38"/>
                    </a:lnTo>
                    <a:lnTo>
                      <a:pt x="254" y="46"/>
                    </a:lnTo>
                    <a:lnTo>
                      <a:pt x="258" y="56"/>
                    </a:lnTo>
                    <a:lnTo>
                      <a:pt x="262" y="80"/>
                    </a:lnTo>
                    <a:lnTo>
                      <a:pt x="266" y="104"/>
                    </a:lnTo>
                    <a:lnTo>
                      <a:pt x="266" y="130"/>
                    </a:lnTo>
                    <a:lnTo>
                      <a:pt x="266" y="282"/>
                    </a:lnTo>
                    <a:lnTo>
                      <a:pt x="182" y="282"/>
                    </a:lnTo>
                    <a:lnTo>
                      <a:pt x="182" y="148"/>
                    </a:lnTo>
                    <a:lnTo>
                      <a:pt x="182" y="148"/>
                    </a:lnTo>
                    <a:lnTo>
                      <a:pt x="180" y="124"/>
                    </a:lnTo>
                    <a:lnTo>
                      <a:pt x="178" y="110"/>
                    </a:lnTo>
                    <a:lnTo>
                      <a:pt x="176" y="100"/>
                    </a:lnTo>
                    <a:lnTo>
                      <a:pt x="170" y="90"/>
                    </a:lnTo>
                    <a:lnTo>
                      <a:pt x="162" y="82"/>
                    </a:lnTo>
                    <a:lnTo>
                      <a:pt x="152" y="76"/>
                    </a:lnTo>
                    <a:lnTo>
                      <a:pt x="138" y="76"/>
                    </a:lnTo>
                    <a:lnTo>
                      <a:pt x="138" y="76"/>
                    </a:lnTo>
                    <a:lnTo>
                      <a:pt x="122" y="76"/>
                    </a:lnTo>
                    <a:lnTo>
                      <a:pt x="110" y="82"/>
                    </a:lnTo>
                    <a:lnTo>
                      <a:pt x="102" y="88"/>
                    </a:lnTo>
                    <a:lnTo>
                      <a:pt x="94" y="96"/>
                    </a:lnTo>
                    <a:lnTo>
                      <a:pt x="90" y="108"/>
                    </a:lnTo>
                    <a:lnTo>
                      <a:pt x="88" y="120"/>
                    </a:lnTo>
                    <a:lnTo>
                      <a:pt x="86" y="146"/>
                    </a:lnTo>
                    <a:lnTo>
                      <a:pt x="86" y="282"/>
                    </a:lnTo>
                    <a:lnTo>
                      <a:pt x="0" y="282"/>
                    </a:lnTo>
                    <a:lnTo>
                      <a:pt x="0"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pic>
          <p:nvPicPr>
            <p:cNvPr id="8" name="Graphic 7">
              <a:extLst>
                <a:ext uri="{FF2B5EF4-FFF2-40B4-BE49-F238E27FC236}">
                  <a16:creationId xmlns:a16="http://schemas.microsoft.com/office/drawing/2014/main" id="{E623C608-42E8-3F59-6C6F-9B6B0018107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97577" y="5207799"/>
              <a:ext cx="388800" cy="388800"/>
            </a:xfrm>
            <a:prstGeom prst="rect">
              <a:avLst/>
            </a:prstGeom>
          </p:spPr>
        </p:pic>
      </p:grpSp>
    </p:spTree>
    <p:extLst>
      <p:ext uri="{BB962C8B-B14F-4D97-AF65-F5344CB8AC3E}">
        <p14:creationId xmlns:p14="http://schemas.microsoft.com/office/powerpoint/2010/main" val="19201555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37C20205-1972-45A0-B67B-992440214E15}"/>
              </a:ext>
            </a:extLst>
          </p:cNvPr>
          <p:cNvSpPr txBox="1"/>
          <p:nvPr userDrawn="1">
            <p:custDataLst>
              <p:tags r:id="rId1"/>
            </p:custDataLst>
          </p:nvPr>
        </p:nvSpPr>
        <p:spPr>
          <a:xfrm>
            <a:off x="749551" y="4238700"/>
            <a:ext cx="2055050" cy="115416"/>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750" b="1" kern="1200" noProof="0" dirty="0">
                <a:solidFill>
                  <a:schemeClr val="bg1"/>
                </a:solidFill>
                <a:latin typeface="+mn-lt"/>
                <a:ea typeface="+mn-ea"/>
                <a:cs typeface="+mn-cs"/>
              </a:rPr>
              <a:t>Document Classification: KPMG Confidential</a:t>
            </a:r>
          </a:p>
        </p:txBody>
      </p:sp>
      <p:sp>
        <p:nvSpPr>
          <p:cNvPr id="18" name="Text Placeholder 2">
            <a:extLst>
              <a:ext uri="{FF2B5EF4-FFF2-40B4-BE49-F238E27FC236}">
                <a16:creationId xmlns:a16="http://schemas.microsoft.com/office/drawing/2014/main" id="{D1985B1E-1660-49BE-A364-FD65E9A824E4}"/>
              </a:ext>
            </a:extLst>
          </p:cNvPr>
          <p:cNvSpPr>
            <a:spLocks noGrp="1"/>
          </p:cNvSpPr>
          <p:nvPr>
            <p:ph type="body" sz="quarter" idx="10"/>
          </p:nvPr>
        </p:nvSpPr>
        <p:spPr>
          <a:xfrm>
            <a:off x="749301" y="2740328"/>
            <a:ext cx="6255182" cy="1382316"/>
          </a:xfrm>
        </p:spPr>
        <p:txBody>
          <a:bodyPr anchor="b"/>
          <a:lstStyle>
            <a:lvl1pPr>
              <a:spcAft>
                <a:spcPts val="750"/>
              </a:spcAft>
              <a:defRPr sz="750" b="0">
                <a:solidFill>
                  <a:schemeClr val="bg1"/>
                </a:solidFill>
              </a:defRPr>
            </a:lvl1pPr>
            <a:lvl2pPr>
              <a:spcAft>
                <a:spcPts val="750"/>
              </a:spcAft>
              <a:defRPr sz="750" b="0">
                <a:solidFill>
                  <a:schemeClr val="bg1"/>
                </a:solidFill>
              </a:defRPr>
            </a:lvl2pPr>
          </a:lstStyle>
          <a:p>
            <a:pPr lvl="0"/>
            <a:r>
              <a:rPr lang="en-US"/>
              <a:t>Click to edit Master text styles</a:t>
            </a:r>
          </a:p>
          <a:p>
            <a:pPr lvl="1"/>
            <a:r>
              <a:rPr lang="en-US"/>
              <a:t>Second level</a:t>
            </a:r>
          </a:p>
        </p:txBody>
      </p:sp>
      <p:pic>
        <p:nvPicPr>
          <p:cNvPr id="16" name="Graphic 15">
            <a:extLst>
              <a:ext uri="{FF2B5EF4-FFF2-40B4-BE49-F238E27FC236}">
                <a16:creationId xmlns:a16="http://schemas.microsoft.com/office/drawing/2014/main" id="{1451B2DB-8DD3-4AA8-A8FE-1EC956920A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9301" y="235079"/>
            <a:ext cx="786440" cy="237600"/>
          </a:xfrm>
          <a:prstGeom prst="rect">
            <a:avLst/>
          </a:prstGeom>
        </p:spPr>
      </p:pic>
      <p:sp>
        <p:nvSpPr>
          <p:cNvPr id="52" name="Text Placeholder 2">
            <a:extLst>
              <a:ext uri="{FF2B5EF4-FFF2-40B4-BE49-F238E27FC236}">
                <a16:creationId xmlns:a16="http://schemas.microsoft.com/office/drawing/2014/main" id="{90714A4B-E7E8-43FD-81E4-BBA98F2D3B2C}"/>
              </a:ext>
            </a:extLst>
          </p:cNvPr>
          <p:cNvSpPr>
            <a:spLocks noGrp="1"/>
          </p:cNvSpPr>
          <p:nvPr>
            <p:ph type="body" sz="quarter" idx="14" hasCustomPrompt="1"/>
          </p:nvPr>
        </p:nvSpPr>
        <p:spPr>
          <a:xfrm>
            <a:off x="749301" y="2354102"/>
            <a:ext cx="2411738" cy="89298"/>
          </a:xfrm>
        </p:spPr>
        <p:txBody>
          <a:bodyPr/>
          <a:lstStyle>
            <a:lvl1pPr>
              <a:buFontTx/>
              <a:buNone/>
              <a:defRPr sz="825" b="1">
                <a:solidFill>
                  <a:schemeClr val="bg1"/>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r>
              <a:rPr lang="en-GB" dirty="0"/>
              <a:t>kpmg.com/</a:t>
            </a:r>
            <a:r>
              <a:rPr lang="en-GB" dirty="0" err="1"/>
              <a:t>cn</a:t>
            </a:r>
            <a:r>
              <a:rPr lang="en-GB" dirty="0"/>
              <a:t>/</a:t>
            </a:r>
            <a:r>
              <a:rPr lang="en-GB" dirty="0" err="1"/>
              <a:t>socialmedia</a:t>
            </a:r>
            <a:endParaRPr lang="en-GB" dirty="0"/>
          </a:p>
        </p:txBody>
      </p:sp>
      <p:grpSp>
        <p:nvGrpSpPr>
          <p:cNvPr id="2" name="Group 1">
            <a:extLst>
              <a:ext uri="{FF2B5EF4-FFF2-40B4-BE49-F238E27FC236}">
                <a16:creationId xmlns:a16="http://schemas.microsoft.com/office/drawing/2014/main" id="{18B09213-F3AC-BD1C-01CF-783252657F64}"/>
              </a:ext>
            </a:extLst>
          </p:cNvPr>
          <p:cNvGrpSpPr/>
          <p:nvPr userDrawn="1"/>
        </p:nvGrpSpPr>
        <p:grpSpPr>
          <a:xfrm>
            <a:off x="749808" y="1968246"/>
            <a:ext cx="2531496" cy="301869"/>
            <a:chOff x="369827" y="5202238"/>
            <a:chExt cx="2531496" cy="402492"/>
          </a:xfrm>
        </p:grpSpPr>
        <p:grpSp>
          <p:nvGrpSpPr>
            <p:cNvPr id="3" name="Group 2">
              <a:extLst>
                <a:ext uri="{FF2B5EF4-FFF2-40B4-BE49-F238E27FC236}">
                  <a16:creationId xmlns:a16="http://schemas.microsoft.com/office/drawing/2014/main" id="{5CA2D0C9-8405-5CDD-4ABD-201EA68AC266}"/>
                </a:ext>
              </a:extLst>
            </p:cNvPr>
            <p:cNvGrpSpPr/>
            <p:nvPr/>
          </p:nvGrpSpPr>
          <p:grpSpPr>
            <a:xfrm>
              <a:off x="2498831" y="5202238"/>
              <a:ext cx="402492" cy="402492"/>
              <a:chOff x="8115300" y="2960688"/>
              <a:chExt cx="942975" cy="942975"/>
            </a:xfrm>
          </p:grpSpPr>
          <p:pic>
            <p:nvPicPr>
              <p:cNvPr id="25" name="Picture 5">
                <a:extLst>
                  <a:ext uri="{FF2B5EF4-FFF2-40B4-BE49-F238E27FC236}">
                    <a16:creationId xmlns:a16="http://schemas.microsoft.com/office/drawing/2014/main" id="{D3EA7A3F-6568-9D5F-CB35-F967155EA60D}"/>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15300" y="2960688"/>
                <a:ext cx="9429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40">
                <a:extLst>
                  <a:ext uri="{FF2B5EF4-FFF2-40B4-BE49-F238E27FC236}">
                    <a16:creationId xmlns:a16="http://schemas.microsoft.com/office/drawing/2014/main" id="{74129785-117F-BD42-41A5-94BFCD0939A0}"/>
                  </a:ext>
                </a:extLst>
              </p:cNvPr>
              <p:cNvSpPr>
                <a:spLocks noEditPoints="1"/>
              </p:cNvSpPr>
              <p:nvPr/>
            </p:nvSpPr>
            <p:spPr bwMode="auto">
              <a:xfrm>
                <a:off x="8289925" y="3201988"/>
                <a:ext cx="593725" cy="450850"/>
              </a:xfrm>
              <a:custGeom>
                <a:avLst/>
                <a:gdLst>
                  <a:gd name="T0" fmla="*/ 318 w 374"/>
                  <a:gd name="T1" fmla="*/ 0 h 284"/>
                  <a:gd name="T2" fmla="*/ 56 w 374"/>
                  <a:gd name="T3" fmla="*/ 0 h 284"/>
                  <a:gd name="T4" fmla="*/ 56 w 374"/>
                  <a:gd name="T5" fmla="*/ 0 h 284"/>
                  <a:gd name="T6" fmla="*/ 44 w 374"/>
                  <a:gd name="T7" fmla="*/ 2 h 284"/>
                  <a:gd name="T8" fmla="*/ 34 w 374"/>
                  <a:gd name="T9" fmla="*/ 4 h 284"/>
                  <a:gd name="T10" fmla="*/ 24 w 374"/>
                  <a:gd name="T11" fmla="*/ 10 h 284"/>
                  <a:gd name="T12" fmla="*/ 16 w 374"/>
                  <a:gd name="T13" fmla="*/ 16 h 284"/>
                  <a:gd name="T14" fmla="*/ 8 w 374"/>
                  <a:gd name="T15" fmla="*/ 24 h 284"/>
                  <a:gd name="T16" fmla="*/ 4 w 374"/>
                  <a:gd name="T17" fmla="*/ 34 h 284"/>
                  <a:gd name="T18" fmla="*/ 0 w 374"/>
                  <a:gd name="T19" fmla="*/ 44 h 284"/>
                  <a:gd name="T20" fmla="*/ 0 w 374"/>
                  <a:gd name="T21" fmla="*/ 56 h 284"/>
                  <a:gd name="T22" fmla="*/ 0 w 374"/>
                  <a:gd name="T23" fmla="*/ 228 h 284"/>
                  <a:gd name="T24" fmla="*/ 0 w 374"/>
                  <a:gd name="T25" fmla="*/ 228 h 284"/>
                  <a:gd name="T26" fmla="*/ 0 w 374"/>
                  <a:gd name="T27" fmla="*/ 240 h 284"/>
                  <a:gd name="T28" fmla="*/ 4 w 374"/>
                  <a:gd name="T29" fmla="*/ 250 h 284"/>
                  <a:gd name="T30" fmla="*/ 8 w 374"/>
                  <a:gd name="T31" fmla="*/ 260 h 284"/>
                  <a:gd name="T32" fmla="*/ 16 w 374"/>
                  <a:gd name="T33" fmla="*/ 268 h 284"/>
                  <a:gd name="T34" fmla="*/ 24 w 374"/>
                  <a:gd name="T35" fmla="*/ 274 h 284"/>
                  <a:gd name="T36" fmla="*/ 34 w 374"/>
                  <a:gd name="T37" fmla="*/ 280 h 284"/>
                  <a:gd name="T38" fmla="*/ 44 w 374"/>
                  <a:gd name="T39" fmla="*/ 282 h 284"/>
                  <a:gd name="T40" fmla="*/ 56 w 374"/>
                  <a:gd name="T41" fmla="*/ 284 h 284"/>
                  <a:gd name="T42" fmla="*/ 318 w 374"/>
                  <a:gd name="T43" fmla="*/ 284 h 284"/>
                  <a:gd name="T44" fmla="*/ 318 w 374"/>
                  <a:gd name="T45" fmla="*/ 284 h 284"/>
                  <a:gd name="T46" fmla="*/ 330 w 374"/>
                  <a:gd name="T47" fmla="*/ 282 h 284"/>
                  <a:gd name="T48" fmla="*/ 340 w 374"/>
                  <a:gd name="T49" fmla="*/ 280 h 284"/>
                  <a:gd name="T50" fmla="*/ 350 w 374"/>
                  <a:gd name="T51" fmla="*/ 274 h 284"/>
                  <a:gd name="T52" fmla="*/ 358 w 374"/>
                  <a:gd name="T53" fmla="*/ 268 h 284"/>
                  <a:gd name="T54" fmla="*/ 364 w 374"/>
                  <a:gd name="T55" fmla="*/ 260 h 284"/>
                  <a:gd name="T56" fmla="*/ 370 w 374"/>
                  <a:gd name="T57" fmla="*/ 250 h 284"/>
                  <a:gd name="T58" fmla="*/ 372 w 374"/>
                  <a:gd name="T59" fmla="*/ 240 h 284"/>
                  <a:gd name="T60" fmla="*/ 374 w 374"/>
                  <a:gd name="T61" fmla="*/ 228 h 284"/>
                  <a:gd name="T62" fmla="*/ 374 w 374"/>
                  <a:gd name="T63" fmla="*/ 56 h 284"/>
                  <a:gd name="T64" fmla="*/ 374 w 374"/>
                  <a:gd name="T65" fmla="*/ 56 h 284"/>
                  <a:gd name="T66" fmla="*/ 372 w 374"/>
                  <a:gd name="T67" fmla="*/ 44 h 284"/>
                  <a:gd name="T68" fmla="*/ 370 w 374"/>
                  <a:gd name="T69" fmla="*/ 34 h 284"/>
                  <a:gd name="T70" fmla="*/ 364 w 374"/>
                  <a:gd name="T71" fmla="*/ 24 h 284"/>
                  <a:gd name="T72" fmla="*/ 358 w 374"/>
                  <a:gd name="T73" fmla="*/ 16 h 284"/>
                  <a:gd name="T74" fmla="*/ 350 w 374"/>
                  <a:gd name="T75" fmla="*/ 10 h 284"/>
                  <a:gd name="T76" fmla="*/ 340 w 374"/>
                  <a:gd name="T77" fmla="*/ 4 h 284"/>
                  <a:gd name="T78" fmla="*/ 330 w 374"/>
                  <a:gd name="T79" fmla="*/ 2 h 284"/>
                  <a:gd name="T80" fmla="*/ 318 w 374"/>
                  <a:gd name="T81" fmla="*/ 0 h 284"/>
                  <a:gd name="T82" fmla="*/ 318 w 374"/>
                  <a:gd name="T83" fmla="*/ 0 h 284"/>
                  <a:gd name="T84" fmla="*/ 132 w 374"/>
                  <a:gd name="T85" fmla="*/ 204 h 284"/>
                  <a:gd name="T86" fmla="*/ 132 w 374"/>
                  <a:gd name="T87" fmla="*/ 80 h 284"/>
                  <a:gd name="T88" fmla="*/ 240 w 374"/>
                  <a:gd name="T89" fmla="*/ 142 h 284"/>
                  <a:gd name="T90" fmla="*/ 132 w 374"/>
                  <a:gd name="T91" fmla="*/ 204 h 284"/>
                  <a:gd name="T92" fmla="*/ 132 w 374"/>
                  <a:gd name="T93"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4" h="284">
                    <a:moveTo>
                      <a:pt x="318" y="0"/>
                    </a:moveTo>
                    <a:lnTo>
                      <a:pt x="56" y="0"/>
                    </a:lnTo>
                    <a:lnTo>
                      <a:pt x="56" y="0"/>
                    </a:lnTo>
                    <a:lnTo>
                      <a:pt x="44" y="2"/>
                    </a:lnTo>
                    <a:lnTo>
                      <a:pt x="34" y="4"/>
                    </a:lnTo>
                    <a:lnTo>
                      <a:pt x="24" y="10"/>
                    </a:lnTo>
                    <a:lnTo>
                      <a:pt x="16" y="16"/>
                    </a:lnTo>
                    <a:lnTo>
                      <a:pt x="8" y="24"/>
                    </a:lnTo>
                    <a:lnTo>
                      <a:pt x="4" y="34"/>
                    </a:lnTo>
                    <a:lnTo>
                      <a:pt x="0" y="44"/>
                    </a:lnTo>
                    <a:lnTo>
                      <a:pt x="0" y="56"/>
                    </a:lnTo>
                    <a:lnTo>
                      <a:pt x="0" y="228"/>
                    </a:lnTo>
                    <a:lnTo>
                      <a:pt x="0" y="228"/>
                    </a:lnTo>
                    <a:lnTo>
                      <a:pt x="0" y="240"/>
                    </a:lnTo>
                    <a:lnTo>
                      <a:pt x="4" y="250"/>
                    </a:lnTo>
                    <a:lnTo>
                      <a:pt x="8" y="260"/>
                    </a:lnTo>
                    <a:lnTo>
                      <a:pt x="16" y="268"/>
                    </a:lnTo>
                    <a:lnTo>
                      <a:pt x="24" y="274"/>
                    </a:lnTo>
                    <a:lnTo>
                      <a:pt x="34" y="280"/>
                    </a:lnTo>
                    <a:lnTo>
                      <a:pt x="44" y="282"/>
                    </a:lnTo>
                    <a:lnTo>
                      <a:pt x="56" y="284"/>
                    </a:lnTo>
                    <a:lnTo>
                      <a:pt x="318" y="284"/>
                    </a:lnTo>
                    <a:lnTo>
                      <a:pt x="318" y="284"/>
                    </a:lnTo>
                    <a:lnTo>
                      <a:pt x="330" y="282"/>
                    </a:lnTo>
                    <a:lnTo>
                      <a:pt x="340" y="280"/>
                    </a:lnTo>
                    <a:lnTo>
                      <a:pt x="350" y="274"/>
                    </a:lnTo>
                    <a:lnTo>
                      <a:pt x="358" y="268"/>
                    </a:lnTo>
                    <a:lnTo>
                      <a:pt x="364" y="260"/>
                    </a:lnTo>
                    <a:lnTo>
                      <a:pt x="370" y="250"/>
                    </a:lnTo>
                    <a:lnTo>
                      <a:pt x="372" y="240"/>
                    </a:lnTo>
                    <a:lnTo>
                      <a:pt x="374" y="228"/>
                    </a:lnTo>
                    <a:lnTo>
                      <a:pt x="374" y="56"/>
                    </a:lnTo>
                    <a:lnTo>
                      <a:pt x="374" y="56"/>
                    </a:lnTo>
                    <a:lnTo>
                      <a:pt x="372" y="44"/>
                    </a:lnTo>
                    <a:lnTo>
                      <a:pt x="370" y="34"/>
                    </a:lnTo>
                    <a:lnTo>
                      <a:pt x="364" y="24"/>
                    </a:lnTo>
                    <a:lnTo>
                      <a:pt x="358" y="16"/>
                    </a:lnTo>
                    <a:lnTo>
                      <a:pt x="350" y="10"/>
                    </a:lnTo>
                    <a:lnTo>
                      <a:pt x="340" y="4"/>
                    </a:lnTo>
                    <a:lnTo>
                      <a:pt x="330" y="2"/>
                    </a:lnTo>
                    <a:lnTo>
                      <a:pt x="318" y="0"/>
                    </a:lnTo>
                    <a:lnTo>
                      <a:pt x="318" y="0"/>
                    </a:lnTo>
                    <a:close/>
                    <a:moveTo>
                      <a:pt x="132" y="204"/>
                    </a:moveTo>
                    <a:lnTo>
                      <a:pt x="132" y="80"/>
                    </a:lnTo>
                    <a:lnTo>
                      <a:pt x="240" y="142"/>
                    </a:lnTo>
                    <a:lnTo>
                      <a:pt x="132" y="204"/>
                    </a:lnTo>
                    <a:lnTo>
                      <a:pt x="13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4" name="Group 3">
              <a:extLst>
                <a:ext uri="{FF2B5EF4-FFF2-40B4-BE49-F238E27FC236}">
                  <a16:creationId xmlns:a16="http://schemas.microsoft.com/office/drawing/2014/main" id="{FACBE12B-1526-7EC7-3BB2-7E565A68F7A0}"/>
                </a:ext>
              </a:extLst>
            </p:cNvPr>
            <p:cNvGrpSpPr/>
            <p:nvPr/>
          </p:nvGrpSpPr>
          <p:grpSpPr>
            <a:xfrm>
              <a:off x="2077367" y="5206304"/>
              <a:ext cx="390295" cy="390295"/>
              <a:chOff x="7127875" y="2970213"/>
              <a:chExt cx="914400" cy="914400"/>
            </a:xfrm>
          </p:grpSpPr>
          <p:sp>
            <p:nvSpPr>
              <p:cNvPr id="21" name="Freeform 37">
                <a:extLst>
                  <a:ext uri="{FF2B5EF4-FFF2-40B4-BE49-F238E27FC236}">
                    <a16:creationId xmlns:a16="http://schemas.microsoft.com/office/drawing/2014/main" id="{47DF1A3C-B123-1969-6D96-88F2219E2AF0}"/>
                  </a:ext>
                </a:extLst>
              </p:cNvPr>
              <p:cNvSpPr>
                <a:spLocks/>
              </p:cNvSpPr>
              <p:nvPr/>
            </p:nvSpPr>
            <p:spPr bwMode="auto">
              <a:xfrm>
                <a:off x="7127875"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4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4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4" y="20"/>
                    </a:lnTo>
                    <a:lnTo>
                      <a:pt x="2" y="26"/>
                    </a:lnTo>
                    <a:lnTo>
                      <a:pt x="0" y="32"/>
                    </a:lnTo>
                    <a:lnTo>
                      <a:pt x="0" y="544"/>
                    </a:lnTo>
                    <a:lnTo>
                      <a:pt x="0" y="544"/>
                    </a:lnTo>
                    <a:lnTo>
                      <a:pt x="2" y="552"/>
                    </a:lnTo>
                    <a:lnTo>
                      <a:pt x="4" y="558"/>
                    </a:lnTo>
                    <a:lnTo>
                      <a:pt x="10" y="568"/>
                    </a:lnTo>
                    <a:lnTo>
                      <a:pt x="20" y="574"/>
                    </a:lnTo>
                    <a:lnTo>
                      <a:pt x="26" y="576"/>
                    </a:lnTo>
                    <a:lnTo>
                      <a:pt x="32" y="576"/>
                    </a:lnTo>
                    <a:lnTo>
                      <a:pt x="544" y="576"/>
                    </a:lnTo>
                    <a:lnTo>
                      <a:pt x="544" y="576"/>
                    </a:lnTo>
                    <a:close/>
                  </a:path>
                </a:pathLst>
              </a:custGeom>
              <a:solidFill>
                <a:srgbClr val="E52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23" name="Freeform 38">
                <a:extLst>
                  <a:ext uri="{FF2B5EF4-FFF2-40B4-BE49-F238E27FC236}">
                    <a16:creationId xmlns:a16="http://schemas.microsoft.com/office/drawing/2014/main" id="{715C8959-7A5D-B3F5-2CC6-C93D48575BA3}"/>
                  </a:ext>
                </a:extLst>
              </p:cNvPr>
              <p:cNvSpPr>
                <a:spLocks noEditPoints="1"/>
              </p:cNvSpPr>
              <p:nvPr/>
            </p:nvSpPr>
            <p:spPr bwMode="auto">
              <a:xfrm>
                <a:off x="7248525" y="3141663"/>
                <a:ext cx="679450" cy="552450"/>
              </a:xfrm>
              <a:custGeom>
                <a:avLst/>
                <a:gdLst>
                  <a:gd name="T0" fmla="*/ 298 w 428"/>
                  <a:gd name="T1" fmla="*/ 62 h 348"/>
                  <a:gd name="T2" fmla="*/ 348 w 428"/>
                  <a:gd name="T3" fmla="*/ 70 h 348"/>
                  <a:gd name="T4" fmla="*/ 370 w 428"/>
                  <a:gd name="T5" fmla="*/ 116 h 348"/>
                  <a:gd name="T6" fmla="*/ 354 w 428"/>
                  <a:gd name="T7" fmla="*/ 142 h 348"/>
                  <a:gd name="T8" fmla="*/ 340 w 428"/>
                  <a:gd name="T9" fmla="*/ 128 h 348"/>
                  <a:gd name="T10" fmla="*/ 334 w 428"/>
                  <a:gd name="T11" fmla="*/ 96 h 348"/>
                  <a:gd name="T12" fmla="*/ 306 w 428"/>
                  <a:gd name="T13" fmla="*/ 88 h 348"/>
                  <a:gd name="T14" fmla="*/ 292 w 428"/>
                  <a:gd name="T15" fmla="*/ 78 h 348"/>
                  <a:gd name="T16" fmla="*/ 280 w 428"/>
                  <a:gd name="T17" fmla="*/ 10 h 348"/>
                  <a:gd name="T18" fmla="*/ 332 w 428"/>
                  <a:gd name="T19" fmla="*/ 2 h 348"/>
                  <a:gd name="T20" fmla="*/ 400 w 428"/>
                  <a:gd name="T21" fmla="*/ 38 h 348"/>
                  <a:gd name="T22" fmla="*/ 428 w 428"/>
                  <a:gd name="T23" fmla="*/ 116 h 348"/>
                  <a:gd name="T24" fmla="*/ 416 w 428"/>
                  <a:gd name="T25" fmla="*/ 160 h 348"/>
                  <a:gd name="T26" fmla="*/ 392 w 428"/>
                  <a:gd name="T27" fmla="*/ 152 h 348"/>
                  <a:gd name="T28" fmla="*/ 396 w 428"/>
                  <a:gd name="T29" fmla="*/ 116 h 348"/>
                  <a:gd name="T30" fmla="*/ 374 w 428"/>
                  <a:gd name="T31" fmla="*/ 60 h 348"/>
                  <a:gd name="T32" fmla="*/ 328 w 428"/>
                  <a:gd name="T33" fmla="*/ 34 h 348"/>
                  <a:gd name="T34" fmla="*/ 290 w 428"/>
                  <a:gd name="T35" fmla="*/ 36 h 348"/>
                  <a:gd name="T36" fmla="*/ 166 w 428"/>
                  <a:gd name="T37" fmla="*/ 238 h 348"/>
                  <a:gd name="T38" fmla="*/ 178 w 428"/>
                  <a:gd name="T39" fmla="*/ 244 h 348"/>
                  <a:gd name="T40" fmla="*/ 182 w 428"/>
                  <a:gd name="T41" fmla="*/ 230 h 348"/>
                  <a:gd name="T42" fmla="*/ 168 w 428"/>
                  <a:gd name="T43" fmla="*/ 232 h 348"/>
                  <a:gd name="T44" fmla="*/ 128 w 428"/>
                  <a:gd name="T45" fmla="*/ 278 h 348"/>
                  <a:gd name="T46" fmla="*/ 160 w 428"/>
                  <a:gd name="T47" fmla="*/ 268 h 348"/>
                  <a:gd name="T48" fmla="*/ 160 w 428"/>
                  <a:gd name="T49" fmla="*/ 244 h 348"/>
                  <a:gd name="T50" fmla="*/ 126 w 428"/>
                  <a:gd name="T51" fmla="*/ 244 h 348"/>
                  <a:gd name="T52" fmla="*/ 118 w 428"/>
                  <a:gd name="T53" fmla="*/ 266 h 348"/>
                  <a:gd name="T54" fmla="*/ 100 w 428"/>
                  <a:gd name="T55" fmla="*/ 228 h 348"/>
                  <a:gd name="T56" fmla="*/ 152 w 428"/>
                  <a:gd name="T57" fmla="*/ 190 h 348"/>
                  <a:gd name="T58" fmla="*/ 210 w 428"/>
                  <a:gd name="T59" fmla="*/ 200 h 348"/>
                  <a:gd name="T60" fmla="*/ 230 w 428"/>
                  <a:gd name="T61" fmla="*/ 252 h 348"/>
                  <a:gd name="T62" fmla="*/ 188 w 428"/>
                  <a:gd name="T63" fmla="*/ 300 h 348"/>
                  <a:gd name="T64" fmla="*/ 122 w 428"/>
                  <a:gd name="T65" fmla="*/ 298 h 348"/>
                  <a:gd name="T66" fmla="*/ 44 w 428"/>
                  <a:gd name="T67" fmla="*/ 260 h 348"/>
                  <a:gd name="T68" fmla="*/ 102 w 428"/>
                  <a:gd name="T69" fmla="*/ 314 h 348"/>
                  <a:gd name="T70" fmla="*/ 206 w 428"/>
                  <a:gd name="T71" fmla="*/ 320 h 348"/>
                  <a:gd name="T72" fmla="*/ 298 w 428"/>
                  <a:gd name="T73" fmla="*/ 248 h 348"/>
                  <a:gd name="T74" fmla="*/ 292 w 428"/>
                  <a:gd name="T75" fmla="*/ 202 h 348"/>
                  <a:gd name="T76" fmla="*/ 204 w 428"/>
                  <a:gd name="T77" fmla="*/ 154 h 348"/>
                  <a:gd name="T78" fmla="*/ 114 w 428"/>
                  <a:gd name="T79" fmla="*/ 166 h 348"/>
                  <a:gd name="T80" fmla="*/ 56 w 428"/>
                  <a:gd name="T81" fmla="*/ 208 h 348"/>
                  <a:gd name="T82" fmla="*/ 42 w 428"/>
                  <a:gd name="T83" fmla="*/ 252 h 348"/>
                  <a:gd name="T84" fmla="*/ 24 w 428"/>
                  <a:gd name="T85" fmla="*/ 162 h 348"/>
                  <a:gd name="T86" fmla="*/ 124 w 428"/>
                  <a:gd name="T87" fmla="*/ 68 h 348"/>
                  <a:gd name="T88" fmla="*/ 194 w 428"/>
                  <a:gd name="T89" fmla="*/ 52 h 348"/>
                  <a:gd name="T90" fmla="*/ 214 w 428"/>
                  <a:gd name="T91" fmla="*/ 84 h 348"/>
                  <a:gd name="T92" fmla="*/ 210 w 428"/>
                  <a:gd name="T93" fmla="*/ 116 h 348"/>
                  <a:gd name="T94" fmla="*/ 278 w 428"/>
                  <a:gd name="T95" fmla="*/ 100 h 348"/>
                  <a:gd name="T96" fmla="*/ 318 w 428"/>
                  <a:gd name="T97" fmla="*/ 124 h 348"/>
                  <a:gd name="T98" fmla="*/ 314 w 428"/>
                  <a:gd name="T99" fmla="*/ 164 h 348"/>
                  <a:gd name="T100" fmla="*/ 342 w 428"/>
                  <a:gd name="T101" fmla="*/ 176 h 348"/>
                  <a:gd name="T102" fmla="*/ 374 w 428"/>
                  <a:gd name="T103" fmla="*/ 228 h 348"/>
                  <a:gd name="T104" fmla="*/ 352 w 428"/>
                  <a:gd name="T105" fmla="*/ 280 h 348"/>
                  <a:gd name="T106" fmla="*/ 258 w 428"/>
                  <a:gd name="T107" fmla="*/ 338 h 348"/>
                  <a:gd name="T108" fmla="*/ 156 w 428"/>
                  <a:gd name="T109" fmla="*/ 348 h 348"/>
                  <a:gd name="T110" fmla="*/ 40 w 428"/>
                  <a:gd name="T111" fmla="*/ 308 h 348"/>
                  <a:gd name="T112" fmla="*/ 0 w 428"/>
                  <a:gd name="T113" fmla="*/ 23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348">
                    <a:moveTo>
                      <a:pt x="292" y="78"/>
                    </a:moveTo>
                    <a:lnTo>
                      <a:pt x="292" y="78"/>
                    </a:lnTo>
                    <a:lnTo>
                      <a:pt x="292" y="74"/>
                    </a:lnTo>
                    <a:lnTo>
                      <a:pt x="292" y="74"/>
                    </a:lnTo>
                    <a:lnTo>
                      <a:pt x="294" y="66"/>
                    </a:lnTo>
                    <a:lnTo>
                      <a:pt x="294" y="66"/>
                    </a:lnTo>
                    <a:lnTo>
                      <a:pt x="298" y="62"/>
                    </a:lnTo>
                    <a:lnTo>
                      <a:pt x="304" y="60"/>
                    </a:lnTo>
                    <a:lnTo>
                      <a:pt x="304" y="60"/>
                    </a:lnTo>
                    <a:lnTo>
                      <a:pt x="316" y="60"/>
                    </a:lnTo>
                    <a:lnTo>
                      <a:pt x="316" y="60"/>
                    </a:lnTo>
                    <a:lnTo>
                      <a:pt x="328" y="60"/>
                    </a:lnTo>
                    <a:lnTo>
                      <a:pt x="338" y="64"/>
                    </a:lnTo>
                    <a:lnTo>
                      <a:pt x="348" y="70"/>
                    </a:lnTo>
                    <a:lnTo>
                      <a:pt x="356" y="78"/>
                    </a:lnTo>
                    <a:lnTo>
                      <a:pt x="356" y="78"/>
                    </a:lnTo>
                    <a:lnTo>
                      <a:pt x="364" y="90"/>
                    </a:lnTo>
                    <a:lnTo>
                      <a:pt x="370" y="104"/>
                    </a:lnTo>
                    <a:lnTo>
                      <a:pt x="370" y="104"/>
                    </a:lnTo>
                    <a:lnTo>
                      <a:pt x="370" y="116"/>
                    </a:lnTo>
                    <a:lnTo>
                      <a:pt x="370" y="116"/>
                    </a:lnTo>
                    <a:lnTo>
                      <a:pt x="370" y="124"/>
                    </a:lnTo>
                    <a:lnTo>
                      <a:pt x="368" y="132"/>
                    </a:lnTo>
                    <a:lnTo>
                      <a:pt x="368" y="132"/>
                    </a:lnTo>
                    <a:lnTo>
                      <a:pt x="364" y="136"/>
                    </a:lnTo>
                    <a:lnTo>
                      <a:pt x="360" y="140"/>
                    </a:lnTo>
                    <a:lnTo>
                      <a:pt x="360" y="140"/>
                    </a:lnTo>
                    <a:lnTo>
                      <a:pt x="354" y="142"/>
                    </a:lnTo>
                    <a:lnTo>
                      <a:pt x="354" y="142"/>
                    </a:lnTo>
                    <a:lnTo>
                      <a:pt x="350" y="140"/>
                    </a:lnTo>
                    <a:lnTo>
                      <a:pt x="350" y="140"/>
                    </a:lnTo>
                    <a:lnTo>
                      <a:pt x="344" y="138"/>
                    </a:lnTo>
                    <a:lnTo>
                      <a:pt x="342" y="134"/>
                    </a:lnTo>
                    <a:lnTo>
                      <a:pt x="342" y="134"/>
                    </a:lnTo>
                    <a:lnTo>
                      <a:pt x="340" y="128"/>
                    </a:lnTo>
                    <a:lnTo>
                      <a:pt x="340" y="128"/>
                    </a:lnTo>
                    <a:lnTo>
                      <a:pt x="340" y="124"/>
                    </a:lnTo>
                    <a:lnTo>
                      <a:pt x="340" y="124"/>
                    </a:lnTo>
                    <a:lnTo>
                      <a:pt x="342" y="114"/>
                    </a:lnTo>
                    <a:lnTo>
                      <a:pt x="342" y="114"/>
                    </a:lnTo>
                    <a:lnTo>
                      <a:pt x="340" y="104"/>
                    </a:lnTo>
                    <a:lnTo>
                      <a:pt x="334" y="96"/>
                    </a:lnTo>
                    <a:lnTo>
                      <a:pt x="334" y="96"/>
                    </a:lnTo>
                    <a:lnTo>
                      <a:pt x="326" y="90"/>
                    </a:lnTo>
                    <a:lnTo>
                      <a:pt x="316" y="88"/>
                    </a:lnTo>
                    <a:lnTo>
                      <a:pt x="316" y="88"/>
                    </a:lnTo>
                    <a:lnTo>
                      <a:pt x="310" y="88"/>
                    </a:lnTo>
                    <a:lnTo>
                      <a:pt x="310" y="88"/>
                    </a:lnTo>
                    <a:lnTo>
                      <a:pt x="306" y="88"/>
                    </a:lnTo>
                    <a:lnTo>
                      <a:pt x="306" y="88"/>
                    </a:lnTo>
                    <a:lnTo>
                      <a:pt x="302" y="88"/>
                    </a:lnTo>
                    <a:lnTo>
                      <a:pt x="298" y="86"/>
                    </a:lnTo>
                    <a:lnTo>
                      <a:pt x="298" y="86"/>
                    </a:lnTo>
                    <a:lnTo>
                      <a:pt x="294" y="82"/>
                    </a:lnTo>
                    <a:lnTo>
                      <a:pt x="292" y="78"/>
                    </a:lnTo>
                    <a:lnTo>
                      <a:pt x="292" y="78"/>
                    </a:lnTo>
                    <a:close/>
                    <a:moveTo>
                      <a:pt x="278" y="22"/>
                    </a:moveTo>
                    <a:lnTo>
                      <a:pt x="278" y="22"/>
                    </a:lnTo>
                    <a:lnTo>
                      <a:pt x="278" y="20"/>
                    </a:lnTo>
                    <a:lnTo>
                      <a:pt x="278" y="20"/>
                    </a:lnTo>
                    <a:lnTo>
                      <a:pt x="278" y="14"/>
                    </a:lnTo>
                    <a:lnTo>
                      <a:pt x="280" y="10"/>
                    </a:lnTo>
                    <a:lnTo>
                      <a:pt x="280" y="10"/>
                    </a:lnTo>
                    <a:lnTo>
                      <a:pt x="286" y="6"/>
                    </a:lnTo>
                    <a:lnTo>
                      <a:pt x="292" y="4"/>
                    </a:lnTo>
                    <a:lnTo>
                      <a:pt x="292" y="4"/>
                    </a:lnTo>
                    <a:lnTo>
                      <a:pt x="302" y="2"/>
                    </a:lnTo>
                    <a:lnTo>
                      <a:pt x="314" y="0"/>
                    </a:lnTo>
                    <a:lnTo>
                      <a:pt x="314" y="0"/>
                    </a:lnTo>
                    <a:lnTo>
                      <a:pt x="332" y="2"/>
                    </a:lnTo>
                    <a:lnTo>
                      <a:pt x="350" y="6"/>
                    </a:lnTo>
                    <a:lnTo>
                      <a:pt x="350" y="6"/>
                    </a:lnTo>
                    <a:lnTo>
                      <a:pt x="364" y="12"/>
                    </a:lnTo>
                    <a:lnTo>
                      <a:pt x="376" y="18"/>
                    </a:lnTo>
                    <a:lnTo>
                      <a:pt x="388" y="28"/>
                    </a:lnTo>
                    <a:lnTo>
                      <a:pt x="400" y="38"/>
                    </a:lnTo>
                    <a:lnTo>
                      <a:pt x="400" y="38"/>
                    </a:lnTo>
                    <a:lnTo>
                      <a:pt x="408" y="50"/>
                    </a:lnTo>
                    <a:lnTo>
                      <a:pt x="416" y="64"/>
                    </a:lnTo>
                    <a:lnTo>
                      <a:pt x="422" y="78"/>
                    </a:lnTo>
                    <a:lnTo>
                      <a:pt x="426" y="92"/>
                    </a:lnTo>
                    <a:lnTo>
                      <a:pt x="426" y="92"/>
                    </a:lnTo>
                    <a:lnTo>
                      <a:pt x="428" y="116"/>
                    </a:lnTo>
                    <a:lnTo>
                      <a:pt x="428" y="116"/>
                    </a:lnTo>
                    <a:lnTo>
                      <a:pt x="428" y="132"/>
                    </a:lnTo>
                    <a:lnTo>
                      <a:pt x="424" y="150"/>
                    </a:lnTo>
                    <a:lnTo>
                      <a:pt x="424" y="150"/>
                    </a:lnTo>
                    <a:lnTo>
                      <a:pt x="424" y="150"/>
                    </a:lnTo>
                    <a:lnTo>
                      <a:pt x="420" y="156"/>
                    </a:lnTo>
                    <a:lnTo>
                      <a:pt x="416" y="160"/>
                    </a:lnTo>
                    <a:lnTo>
                      <a:pt x="416" y="160"/>
                    </a:lnTo>
                    <a:lnTo>
                      <a:pt x="408" y="160"/>
                    </a:lnTo>
                    <a:lnTo>
                      <a:pt x="408" y="160"/>
                    </a:lnTo>
                    <a:lnTo>
                      <a:pt x="402" y="160"/>
                    </a:lnTo>
                    <a:lnTo>
                      <a:pt x="402" y="160"/>
                    </a:lnTo>
                    <a:lnTo>
                      <a:pt x="396" y="158"/>
                    </a:lnTo>
                    <a:lnTo>
                      <a:pt x="392" y="152"/>
                    </a:lnTo>
                    <a:lnTo>
                      <a:pt x="392" y="152"/>
                    </a:lnTo>
                    <a:lnTo>
                      <a:pt x="392" y="144"/>
                    </a:lnTo>
                    <a:lnTo>
                      <a:pt x="392" y="144"/>
                    </a:lnTo>
                    <a:lnTo>
                      <a:pt x="392" y="140"/>
                    </a:lnTo>
                    <a:lnTo>
                      <a:pt x="392" y="140"/>
                    </a:lnTo>
                    <a:lnTo>
                      <a:pt x="392" y="140"/>
                    </a:lnTo>
                    <a:lnTo>
                      <a:pt x="394" y="128"/>
                    </a:lnTo>
                    <a:lnTo>
                      <a:pt x="396" y="116"/>
                    </a:lnTo>
                    <a:lnTo>
                      <a:pt x="396" y="116"/>
                    </a:lnTo>
                    <a:lnTo>
                      <a:pt x="394" y="98"/>
                    </a:lnTo>
                    <a:lnTo>
                      <a:pt x="394" y="98"/>
                    </a:lnTo>
                    <a:lnTo>
                      <a:pt x="392" y="88"/>
                    </a:lnTo>
                    <a:lnTo>
                      <a:pt x="388" y="78"/>
                    </a:lnTo>
                    <a:lnTo>
                      <a:pt x="382" y="68"/>
                    </a:lnTo>
                    <a:lnTo>
                      <a:pt x="374" y="60"/>
                    </a:lnTo>
                    <a:lnTo>
                      <a:pt x="374" y="60"/>
                    </a:lnTo>
                    <a:lnTo>
                      <a:pt x="368" y="52"/>
                    </a:lnTo>
                    <a:lnTo>
                      <a:pt x="358" y="46"/>
                    </a:lnTo>
                    <a:lnTo>
                      <a:pt x="350" y="42"/>
                    </a:lnTo>
                    <a:lnTo>
                      <a:pt x="340" y="38"/>
                    </a:lnTo>
                    <a:lnTo>
                      <a:pt x="340" y="38"/>
                    </a:lnTo>
                    <a:lnTo>
                      <a:pt x="328" y="34"/>
                    </a:lnTo>
                    <a:lnTo>
                      <a:pt x="316" y="34"/>
                    </a:lnTo>
                    <a:lnTo>
                      <a:pt x="316" y="34"/>
                    </a:lnTo>
                    <a:lnTo>
                      <a:pt x="298" y="36"/>
                    </a:lnTo>
                    <a:lnTo>
                      <a:pt x="298" y="36"/>
                    </a:lnTo>
                    <a:lnTo>
                      <a:pt x="294" y="36"/>
                    </a:lnTo>
                    <a:lnTo>
                      <a:pt x="294" y="36"/>
                    </a:lnTo>
                    <a:lnTo>
                      <a:pt x="290" y="36"/>
                    </a:lnTo>
                    <a:lnTo>
                      <a:pt x="286" y="34"/>
                    </a:lnTo>
                    <a:lnTo>
                      <a:pt x="286" y="34"/>
                    </a:lnTo>
                    <a:lnTo>
                      <a:pt x="280" y="28"/>
                    </a:lnTo>
                    <a:lnTo>
                      <a:pt x="278" y="22"/>
                    </a:lnTo>
                    <a:lnTo>
                      <a:pt x="278" y="22"/>
                    </a:lnTo>
                    <a:close/>
                    <a:moveTo>
                      <a:pt x="166" y="238"/>
                    </a:moveTo>
                    <a:lnTo>
                      <a:pt x="166" y="238"/>
                    </a:lnTo>
                    <a:lnTo>
                      <a:pt x="168" y="242"/>
                    </a:lnTo>
                    <a:lnTo>
                      <a:pt x="172" y="244"/>
                    </a:lnTo>
                    <a:lnTo>
                      <a:pt x="172" y="244"/>
                    </a:lnTo>
                    <a:lnTo>
                      <a:pt x="174" y="244"/>
                    </a:lnTo>
                    <a:lnTo>
                      <a:pt x="174" y="244"/>
                    </a:lnTo>
                    <a:lnTo>
                      <a:pt x="178" y="244"/>
                    </a:lnTo>
                    <a:lnTo>
                      <a:pt x="178" y="244"/>
                    </a:lnTo>
                    <a:lnTo>
                      <a:pt x="182" y="242"/>
                    </a:lnTo>
                    <a:lnTo>
                      <a:pt x="184" y="238"/>
                    </a:lnTo>
                    <a:lnTo>
                      <a:pt x="184" y="238"/>
                    </a:lnTo>
                    <a:lnTo>
                      <a:pt x="184" y="236"/>
                    </a:lnTo>
                    <a:lnTo>
                      <a:pt x="184" y="232"/>
                    </a:lnTo>
                    <a:lnTo>
                      <a:pt x="184" y="232"/>
                    </a:lnTo>
                    <a:lnTo>
                      <a:pt x="182" y="230"/>
                    </a:lnTo>
                    <a:lnTo>
                      <a:pt x="180" y="228"/>
                    </a:lnTo>
                    <a:lnTo>
                      <a:pt x="180" y="228"/>
                    </a:lnTo>
                    <a:lnTo>
                      <a:pt x="174" y="228"/>
                    </a:lnTo>
                    <a:lnTo>
                      <a:pt x="174" y="228"/>
                    </a:lnTo>
                    <a:lnTo>
                      <a:pt x="170" y="230"/>
                    </a:lnTo>
                    <a:lnTo>
                      <a:pt x="168" y="232"/>
                    </a:lnTo>
                    <a:lnTo>
                      <a:pt x="168" y="232"/>
                    </a:lnTo>
                    <a:lnTo>
                      <a:pt x="166" y="236"/>
                    </a:lnTo>
                    <a:lnTo>
                      <a:pt x="166" y="238"/>
                    </a:lnTo>
                    <a:lnTo>
                      <a:pt x="166" y="238"/>
                    </a:lnTo>
                    <a:close/>
                    <a:moveTo>
                      <a:pt x="118" y="266"/>
                    </a:moveTo>
                    <a:lnTo>
                      <a:pt x="118" y="266"/>
                    </a:lnTo>
                    <a:lnTo>
                      <a:pt x="122" y="274"/>
                    </a:lnTo>
                    <a:lnTo>
                      <a:pt x="128" y="278"/>
                    </a:lnTo>
                    <a:lnTo>
                      <a:pt x="128" y="278"/>
                    </a:lnTo>
                    <a:lnTo>
                      <a:pt x="138" y="280"/>
                    </a:lnTo>
                    <a:lnTo>
                      <a:pt x="138" y="280"/>
                    </a:lnTo>
                    <a:lnTo>
                      <a:pt x="146" y="280"/>
                    </a:lnTo>
                    <a:lnTo>
                      <a:pt x="146" y="280"/>
                    </a:lnTo>
                    <a:lnTo>
                      <a:pt x="154" y="274"/>
                    </a:lnTo>
                    <a:lnTo>
                      <a:pt x="160" y="268"/>
                    </a:lnTo>
                    <a:lnTo>
                      <a:pt x="160" y="268"/>
                    </a:lnTo>
                    <a:lnTo>
                      <a:pt x="164" y="262"/>
                    </a:lnTo>
                    <a:lnTo>
                      <a:pt x="164" y="256"/>
                    </a:lnTo>
                    <a:lnTo>
                      <a:pt x="164" y="256"/>
                    </a:lnTo>
                    <a:lnTo>
                      <a:pt x="164" y="252"/>
                    </a:lnTo>
                    <a:lnTo>
                      <a:pt x="164" y="252"/>
                    </a:lnTo>
                    <a:lnTo>
                      <a:pt x="160" y="244"/>
                    </a:lnTo>
                    <a:lnTo>
                      <a:pt x="152" y="240"/>
                    </a:lnTo>
                    <a:lnTo>
                      <a:pt x="152" y="240"/>
                    </a:lnTo>
                    <a:lnTo>
                      <a:pt x="144" y="238"/>
                    </a:lnTo>
                    <a:lnTo>
                      <a:pt x="144" y="238"/>
                    </a:lnTo>
                    <a:lnTo>
                      <a:pt x="136" y="240"/>
                    </a:lnTo>
                    <a:lnTo>
                      <a:pt x="136" y="240"/>
                    </a:lnTo>
                    <a:lnTo>
                      <a:pt x="126" y="244"/>
                    </a:lnTo>
                    <a:lnTo>
                      <a:pt x="120" y="250"/>
                    </a:lnTo>
                    <a:lnTo>
                      <a:pt x="120" y="250"/>
                    </a:lnTo>
                    <a:lnTo>
                      <a:pt x="118" y="256"/>
                    </a:lnTo>
                    <a:lnTo>
                      <a:pt x="118" y="262"/>
                    </a:lnTo>
                    <a:lnTo>
                      <a:pt x="118" y="262"/>
                    </a:lnTo>
                    <a:lnTo>
                      <a:pt x="118" y="266"/>
                    </a:lnTo>
                    <a:lnTo>
                      <a:pt x="118" y="266"/>
                    </a:lnTo>
                    <a:close/>
                    <a:moveTo>
                      <a:pt x="98" y="274"/>
                    </a:moveTo>
                    <a:lnTo>
                      <a:pt x="98" y="274"/>
                    </a:lnTo>
                    <a:lnTo>
                      <a:pt x="94" y="262"/>
                    </a:lnTo>
                    <a:lnTo>
                      <a:pt x="94" y="252"/>
                    </a:lnTo>
                    <a:lnTo>
                      <a:pt x="94" y="252"/>
                    </a:lnTo>
                    <a:lnTo>
                      <a:pt x="96" y="240"/>
                    </a:lnTo>
                    <a:lnTo>
                      <a:pt x="100" y="228"/>
                    </a:lnTo>
                    <a:lnTo>
                      <a:pt x="100" y="228"/>
                    </a:lnTo>
                    <a:lnTo>
                      <a:pt x="106" y="218"/>
                    </a:lnTo>
                    <a:lnTo>
                      <a:pt x="114" y="208"/>
                    </a:lnTo>
                    <a:lnTo>
                      <a:pt x="124" y="200"/>
                    </a:lnTo>
                    <a:lnTo>
                      <a:pt x="136" y="194"/>
                    </a:lnTo>
                    <a:lnTo>
                      <a:pt x="136" y="194"/>
                    </a:lnTo>
                    <a:lnTo>
                      <a:pt x="152" y="190"/>
                    </a:lnTo>
                    <a:lnTo>
                      <a:pt x="168" y="188"/>
                    </a:lnTo>
                    <a:lnTo>
                      <a:pt x="168" y="188"/>
                    </a:lnTo>
                    <a:lnTo>
                      <a:pt x="178" y="188"/>
                    </a:lnTo>
                    <a:lnTo>
                      <a:pt x="186" y="190"/>
                    </a:lnTo>
                    <a:lnTo>
                      <a:pt x="186" y="190"/>
                    </a:lnTo>
                    <a:lnTo>
                      <a:pt x="198" y="194"/>
                    </a:lnTo>
                    <a:lnTo>
                      <a:pt x="210" y="200"/>
                    </a:lnTo>
                    <a:lnTo>
                      <a:pt x="218" y="208"/>
                    </a:lnTo>
                    <a:lnTo>
                      <a:pt x="224" y="218"/>
                    </a:lnTo>
                    <a:lnTo>
                      <a:pt x="224" y="218"/>
                    </a:lnTo>
                    <a:lnTo>
                      <a:pt x="228" y="230"/>
                    </a:lnTo>
                    <a:lnTo>
                      <a:pt x="230" y="242"/>
                    </a:lnTo>
                    <a:lnTo>
                      <a:pt x="230" y="242"/>
                    </a:lnTo>
                    <a:lnTo>
                      <a:pt x="230" y="252"/>
                    </a:lnTo>
                    <a:lnTo>
                      <a:pt x="226" y="264"/>
                    </a:lnTo>
                    <a:lnTo>
                      <a:pt x="226" y="264"/>
                    </a:lnTo>
                    <a:lnTo>
                      <a:pt x="218" y="276"/>
                    </a:lnTo>
                    <a:lnTo>
                      <a:pt x="210" y="286"/>
                    </a:lnTo>
                    <a:lnTo>
                      <a:pt x="200" y="294"/>
                    </a:lnTo>
                    <a:lnTo>
                      <a:pt x="188" y="300"/>
                    </a:lnTo>
                    <a:lnTo>
                      <a:pt x="188" y="300"/>
                    </a:lnTo>
                    <a:lnTo>
                      <a:pt x="172" y="306"/>
                    </a:lnTo>
                    <a:lnTo>
                      <a:pt x="156" y="308"/>
                    </a:lnTo>
                    <a:lnTo>
                      <a:pt x="156" y="308"/>
                    </a:lnTo>
                    <a:lnTo>
                      <a:pt x="144" y="306"/>
                    </a:lnTo>
                    <a:lnTo>
                      <a:pt x="134" y="304"/>
                    </a:lnTo>
                    <a:lnTo>
                      <a:pt x="134" y="304"/>
                    </a:lnTo>
                    <a:lnTo>
                      <a:pt x="122" y="298"/>
                    </a:lnTo>
                    <a:lnTo>
                      <a:pt x="112" y="292"/>
                    </a:lnTo>
                    <a:lnTo>
                      <a:pt x="104" y="284"/>
                    </a:lnTo>
                    <a:lnTo>
                      <a:pt x="98" y="274"/>
                    </a:lnTo>
                    <a:lnTo>
                      <a:pt x="98" y="274"/>
                    </a:lnTo>
                    <a:close/>
                    <a:moveTo>
                      <a:pt x="42" y="252"/>
                    </a:moveTo>
                    <a:lnTo>
                      <a:pt x="42" y="252"/>
                    </a:lnTo>
                    <a:lnTo>
                      <a:pt x="44" y="260"/>
                    </a:lnTo>
                    <a:lnTo>
                      <a:pt x="46" y="268"/>
                    </a:lnTo>
                    <a:lnTo>
                      <a:pt x="50" y="276"/>
                    </a:lnTo>
                    <a:lnTo>
                      <a:pt x="56" y="284"/>
                    </a:lnTo>
                    <a:lnTo>
                      <a:pt x="68" y="296"/>
                    </a:lnTo>
                    <a:lnTo>
                      <a:pt x="86" y="308"/>
                    </a:lnTo>
                    <a:lnTo>
                      <a:pt x="86" y="308"/>
                    </a:lnTo>
                    <a:lnTo>
                      <a:pt x="102" y="314"/>
                    </a:lnTo>
                    <a:lnTo>
                      <a:pt x="120" y="320"/>
                    </a:lnTo>
                    <a:lnTo>
                      <a:pt x="138" y="324"/>
                    </a:lnTo>
                    <a:lnTo>
                      <a:pt x="158" y="324"/>
                    </a:lnTo>
                    <a:lnTo>
                      <a:pt x="158" y="324"/>
                    </a:lnTo>
                    <a:lnTo>
                      <a:pt x="180" y="324"/>
                    </a:lnTo>
                    <a:lnTo>
                      <a:pt x="180" y="324"/>
                    </a:lnTo>
                    <a:lnTo>
                      <a:pt x="206" y="320"/>
                    </a:lnTo>
                    <a:lnTo>
                      <a:pt x="228" y="312"/>
                    </a:lnTo>
                    <a:lnTo>
                      <a:pt x="250" y="302"/>
                    </a:lnTo>
                    <a:lnTo>
                      <a:pt x="268" y="290"/>
                    </a:lnTo>
                    <a:lnTo>
                      <a:pt x="268" y="290"/>
                    </a:lnTo>
                    <a:lnTo>
                      <a:pt x="282" y="276"/>
                    </a:lnTo>
                    <a:lnTo>
                      <a:pt x="292" y="262"/>
                    </a:lnTo>
                    <a:lnTo>
                      <a:pt x="298" y="248"/>
                    </a:lnTo>
                    <a:lnTo>
                      <a:pt x="300" y="232"/>
                    </a:lnTo>
                    <a:lnTo>
                      <a:pt x="300" y="232"/>
                    </a:lnTo>
                    <a:lnTo>
                      <a:pt x="300" y="226"/>
                    </a:lnTo>
                    <a:lnTo>
                      <a:pt x="300" y="226"/>
                    </a:lnTo>
                    <a:lnTo>
                      <a:pt x="298" y="218"/>
                    </a:lnTo>
                    <a:lnTo>
                      <a:pt x="296" y="210"/>
                    </a:lnTo>
                    <a:lnTo>
                      <a:pt x="292" y="202"/>
                    </a:lnTo>
                    <a:lnTo>
                      <a:pt x="288" y="194"/>
                    </a:lnTo>
                    <a:lnTo>
                      <a:pt x="274" y="182"/>
                    </a:lnTo>
                    <a:lnTo>
                      <a:pt x="256" y="170"/>
                    </a:lnTo>
                    <a:lnTo>
                      <a:pt x="256" y="170"/>
                    </a:lnTo>
                    <a:lnTo>
                      <a:pt x="240" y="162"/>
                    </a:lnTo>
                    <a:lnTo>
                      <a:pt x="222" y="158"/>
                    </a:lnTo>
                    <a:lnTo>
                      <a:pt x="204" y="154"/>
                    </a:lnTo>
                    <a:lnTo>
                      <a:pt x="184" y="154"/>
                    </a:lnTo>
                    <a:lnTo>
                      <a:pt x="184" y="154"/>
                    </a:lnTo>
                    <a:lnTo>
                      <a:pt x="162" y="154"/>
                    </a:lnTo>
                    <a:lnTo>
                      <a:pt x="162" y="154"/>
                    </a:lnTo>
                    <a:lnTo>
                      <a:pt x="146" y="156"/>
                    </a:lnTo>
                    <a:lnTo>
                      <a:pt x="130" y="160"/>
                    </a:lnTo>
                    <a:lnTo>
                      <a:pt x="114" y="166"/>
                    </a:lnTo>
                    <a:lnTo>
                      <a:pt x="100" y="172"/>
                    </a:lnTo>
                    <a:lnTo>
                      <a:pt x="100" y="172"/>
                    </a:lnTo>
                    <a:lnTo>
                      <a:pt x="86" y="180"/>
                    </a:lnTo>
                    <a:lnTo>
                      <a:pt x="74" y="188"/>
                    </a:lnTo>
                    <a:lnTo>
                      <a:pt x="64" y="198"/>
                    </a:lnTo>
                    <a:lnTo>
                      <a:pt x="56" y="208"/>
                    </a:lnTo>
                    <a:lnTo>
                      <a:pt x="56" y="208"/>
                    </a:lnTo>
                    <a:lnTo>
                      <a:pt x="50" y="216"/>
                    </a:lnTo>
                    <a:lnTo>
                      <a:pt x="46" y="226"/>
                    </a:lnTo>
                    <a:lnTo>
                      <a:pt x="44" y="236"/>
                    </a:lnTo>
                    <a:lnTo>
                      <a:pt x="42" y="246"/>
                    </a:lnTo>
                    <a:lnTo>
                      <a:pt x="42" y="246"/>
                    </a:lnTo>
                    <a:lnTo>
                      <a:pt x="42" y="252"/>
                    </a:lnTo>
                    <a:lnTo>
                      <a:pt x="42" y="252"/>
                    </a:lnTo>
                    <a:close/>
                    <a:moveTo>
                      <a:pt x="0" y="234"/>
                    </a:moveTo>
                    <a:lnTo>
                      <a:pt x="0" y="234"/>
                    </a:lnTo>
                    <a:lnTo>
                      <a:pt x="0" y="220"/>
                    </a:lnTo>
                    <a:lnTo>
                      <a:pt x="4" y="206"/>
                    </a:lnTo>
                    <a:lnTo>
                      <a:pt x="8" y="192"/>
                    </a:lnTo>
                    <a:lnTo>
                      <a:pt x="16" y="176"/>
                    </a:lnTo>
                    <a:lnTo>
                      <a:pt x="24" y="162"/>
                    </a:lnTo>
                    <a:lnTo>
                      <a:pt x="36" y="146"/>
                    </a:lnTo>
                    <a:lnTo>
                      <a:pt x="48" y="130"/>
                    </a:lnTo>
                    <a:lnTo>
                      <a:pt x="64" y="114"/>
                    </a:lnTo>
                    <a:lnTo>
                      <a:pt x="64" y="114"/>
                    </a:lnTo>
                    <a:lnTo>
                      <a:pt x="84" y="96"/>
                    </a:lnTo>
                    <a:lnTo>
                      <a:pt x="104" y="80"/>
                    </a:lnTo>
                    <a:lnTo>
                      <a:pt x="124" y="68"/>
                    </a:lnTo>
                    <a:lnTo>
                      <a:pt x="146" y="58"/>
                    </a:lnTo>
                    <a:lnTo>
                      <a:pt x="146" y="58"/>
                    </a:lnTo>
                    <a:lnTo>
                      <a:pt x="164" y="52"/>
                    </a:lnTo>
                    <a:lnTo>
                      <a:pt x="178" y="50"/>
                    </a:lnTo>
                    <a:lnTo>
                      <a:pt x="178" y="50"/>
                    </a:lnTo>
                    <a:lnTo>
                      <a:pt x="186" y="50"/>
                    </a:lnTo>
                    <a:lnTo>
                      <a:pt x="194" y="52"/>
                    </a:lnTo>
                    <a:lnTo>
                      <a:pt x="198" y="54"/>
                    </a:lnTo>
                    <a:lnTo>
                      <a:pt x="204" y="60"/>
                    </a:lnTo>
                    <a:lnTo>
                      <a:pt x="204" y="60"/>
                    </a:lnTo>
                    <a:lnTo>
                      <a:pt x="208" y="64"/>
                    </a:lnTo>
                    <a:lnTo>
                      <a:pt x="210" y="70"/>
                    </a:lnTo>
                    <a:lnTo>
                      <a:pt x="212" y="76"/>
                    </a:lnTo>
                    <a:lnTo>
                      <a:pt x="214" y="84"/>
                    </a:lnTo>
                    <a:lnTo>
                      <a:pt x="214" y="84"/>
                    </a:lnTo>
                    <a:lnTo>
                      <a:pt x="212" y="96"/>
                    </a:lnTo>
                    <a:lnTo>
                      <a:pt x="208" y="110"/>
                    </a:lnTo>
                    <a:lnTo>
                      <a:pt x="208" y="110"/>
                    </a:lnTo>
                    <a:lnTo>
                      <a:pt x="208" y="114"/>
                    </a:lnTo>
                    <a:lnTo>
                      <a:pt x="210" y="116"/>
                    </a:lnTo>
                    <a:lnTo>
                      <a:pt x="210" y="116"/>
                    </a:lnTo>
                    <a:lnTo>
                      <a:pt x="216" y="116"/>
                    </a:lnTo>
                    <a:lnTo>
                      <a:pt x="218" y="114"/>
                    </a:lnTo>
                    <a:lnTo>
                      <a:pt x="218" y="114"/>
                    </a:lnTo>
                    <a:lnTo>
                      <a:pt x="236" y="108"/>
                    </a:lnTo>
                    <a:lnTo>
                      <a:pt x="250" y="104"/>
                    </a:lnTo>
                    <a:lnTo>
                      <a:pt x="264" y="100"/>
                    </a:lnTo>
                    <a:lnTo>
                      <a:pt x="278" y="100"/>
                    </a:lnTo>
                    <a:lnTo>
                      <a:pt x="278" y="100"/>
                    </a:lnTo>
                    <a:lnTo>
                      <a:pt x="290" y="102"/>
                    </a:lnTo>
                    <a:lnTo>
                      <a:pt x="300" y="104"/>
                    </a:lnTo>
                    <a:lnTo>
                      <a:pt x="308" y="108"/>
                    </a:lnTo>
                    <a:lnTo>
                      <a:pt x="316" y="114"/>
                    </a:lnTo>
                    <a:lnTo>
                      <a:pt x="316" y="114"/>
                    </a:lnTo>
                    <a:lnTo>
                      <a:pt x="318" y="124"/>
                    </a:lnTo>
                    <a:lnTo>
                      <a:pt x="320" y="132"/>
                    </a:lnTo>
                    <a:lnTo>
                      <a:pt x="320" y="132"/>
                    </a:lnTo>
                    <a:lnTo>
                      <a:pt x="318" y="144"/>
                    </a:lnTo>
                    <a:lnTo>
                      <a:pt x="314" y="158"/>
                    </a:lnTo>
                    <a:lnTo>
                      <a:pt x="314" y="158"/>
                    </a:lnTo>
                    <a:lnTo>
                      <a:pt x="314" y="160"/>
                    </a:lnTo>
                    <a:lnTo>
                      <a:pt x="314" y="164"/>
                    </a:lnTo>
                    <a:lnTo>
                      <a:pt x="314" y="164"/>
                    </a:lnTo>
                    <a:lnTo>
                      <a:pt x="316" y="166"/>
                    </a:lnTo>
                    <a:lnTo>
                      <a:pt x="316" y="166"/>
                    </a:lnTo>
                    <a:lnTo>
                      <a:pt x="322" y="168"/>
                    </a:lnTo>
                    <a:lnTo>
                      <a:pt x="322" y="168"/>
                    </a:lnTo>
                    <a:lnTo>
                      <a:pt x="332" y="172"/>
                    </a:lnTo>
                    <a:lnTo>
                      <a:pt x="342" y="176"/>
                    </a:lnTo>
                    <a:lnTo>
                      <a:pt x="350" y="182"/>
                    </a:lnTo>
                    <a:lnTo>
                      <a:pt x="358" y="190"/>
                    </a:lnTo>
                    <a:lnTo>
                      <a:pt x="358" y="190"/>
                    </a:lnTo>
                    <a:lnTo>
                      <a:pt x="366" y="198"/>
                    </a:lnTo>
                    <a:lnTo>
                      <a:pt x="370" y="206"/>
                    </a:lnTo>
                    <a:lnTo>
                      <a:pt x="372" y="216"/>
                    </a:lnTo>
                    <a:lnTo>
                      <a:pt x="374" y="228"/>
                    </a:lnTo>
                    <a:lnTo>
                      <a:pt x="374" y="228"/>
                    </a:lnTo>
                    <a:lnTo>
                      <a:pt x="372" y="238"/>
                    </a:lnTo>
                    <a:lnTo>
                      <a:pt x="370" y="248"/>
                    </a:lnTo>
                    <a:lnTo>
                      <a:pt x="366" y="258"/>
                    </a:lnTo>
                    <a:lnTo>
                      <a:pt x="360" y="270"/>
                    </a:lnTo>
                    <a:lnTo>
                      <a:pt x="360" y="270"/>
                    </a:lnTo>
                    <a:lnTo>
                      <a:pt x="352" y="280"/>
                    </a:lnTo>
                    <a:lnTo>
                      <a:pt x="342" y="290"/>
                    </a:lnTo>
                    <a:lnTo>
                      <a:pt x="320" y="308"/>
                    </a:lnTo>
                    <a:lnTo>
                      <a:pt x="320" y="308"/>
                    </a:lnTo>
                    <a:lnTo>
                      <a:pt x="308" y="316"/>
                    </a:lnTo>
                    <a:lnTo>
                      <a:pt x="292" y="324"/>
                    </a:lnTo>
                    <a:lnTo>
                      <a:pt x="276" y="332"/>
                    </a:lnTo>
                    <a:lnTo>
                      <a:pt x="258" y="338"/>
                    </a:lnTo>
                    <a:lnTo>
                      <a:pt x="258" y="338"/>
                    </a:lnTo>
                    <a:lnTo>
                      <a:pt x="240" y="342"/>
                    </a:lnTo>
                    <a:lnTo>
                      <a:pt x="220" y="346"/>
                    </a:lnTo>
                    <a:lnTo>
                      <a:pt x="200" y="348"/>
                    </a:lnTo>
                    <a:lnTo>
                      <a:pt x="180" y="348"/>
                    </a:lnTo>
                    <a:lnTo>
                      <a:pt x="180" y="348"/>
                    </a:lnTo>
                    <a:lnTo>
                      <a:pt x="156" y="348"/>
                    </a:lnTo>
                    <a:lnTo>
                      <a:pt x="134" y="346"/>
                    </a:lnTo>
                    <a:lnTo>
                      <a:pt x="114" y="342"/>
                    </a:lnTo>
                    <a:lnTo>
                      <a:pt x="94" y="336"/>
                    </a:lnTo>
                    <a:lnTo>
                      <a:pt x="94" y="336"/>
                    </a:lnTo>
                    <a:lnTo>
                      <a:pt x="74" y="328"/>
                    </a:lnTo>
                    <a:lnTo>
                      <a:pt x="56" y="318"/>
                    </a:lnTo>
                    <a:lnTo>
                      <a:pt x="40" y="308"/>
                    </a:lnTo>
                    <a:lnTo>
                      <a:pt x="26" y="296"/>
                    </a:lnTo>
                    <a:lnTo>
                      <a:pt x="26" y="296"/>
                    </a:lnTo>
                    <a:lnTo>
                      <a:pt x="14" y="282"/>
                    </a:lnTo>
                    <a:lnTo>
                      <a:pt x="6" y="266"/>
                    </a:lnTo>
                    <a:lnTo>
                      <a:pt x="0" y="252"/>
                    </a:lnTo>
                    <a:lnTo>
                      <a:pt x="0" y="234"/>
                    </a:lnTo>
                    <a:lnTo>
                      <a:pt x="0" y="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5" name="Group 4">
              <a:extLst>
                <a:ext uri="{FF2B5EF4-FFF2-40B4-BE49-F238E27FC236}">
                  <a16:creationId xmlns:a16="http://schemas.microsoft.com/office/drawing/2014/main" id="{69C0CCD2-D5CE-0CAC-565A-AB92E4787624}"/>
                </a:ext>
              </a:extLst>
            </p:cNvPr>
            <p:cNvGrpSpPr/>
            <p:nvPr/>
          </p:nvGrpSpPr>
          <p:grpSpPr>
            <a:xfrm>
              <a:off x="1650482" y="5206304"/>
              <a:ext cx="390295" cy="390295"/>
              <a:chOff x="6127750" y="2970213"/>
              <a:chExt cx="914400" cy="914400"/>
            </a:xfrm>
          </p:grpSpPr>
          <p:sp>
            <p:nvSpPr>
              <p:cNvPr id="19" name="Freeform 35">
                <a:extLst>
                  <a:ext uri="{FF2B5EF4-FFF2-40B4-BE49-F238E27FC236}">
                    <a16:creationId xmlns:a16="http://schemas.microsoft.com/office/drawing/2014/main" id="{B54BF24C-3F87-8561-A38C-98D4A3DD7B81}"/>
                  </a:ext>
                </a:extLst>
              </p:cNvPr>
              <p:cNvSpPr>
                <a:spLocks/>
              </p:cNvSpPr>
              <p:nvPr/>
            </p:nvSpPr>
            <p:spPr bwMode="auto">
              <a:xfrm>
                <a:off x="6127750"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2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2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2" y="20"/>
                    </a:lnTo>
                    <a:lnTo>
                      <a:pt x="2" y="26"/>
                    </a:lnTo>
                    <a:lnTo>
                      <a:pt x="0" y="32"/>
                    </a:lnTo>
                    <a:lnTo>
                      <a:pt x="0" y="544"/>
                    </a:lnTo>
                    <a:lnTo>
                      <a:pt x="0" y="544"/>
                    </a:lnTo>
                    <a:lnTo>
                      <a:pt x="2" y="552"/>
                    </a:lnTo>
                    <a:lnTo>
                      <a:pt x="2" y="558"/>
                    </a:lnTo>
                    <a:lnTo>
                      <a:pt x="10" y="568"/>
                    </a:lnTo>
                    <a:lnTo>
                      <a:pt x="20" y="574"/>
                    </a:lnTo>
                    <a:lnTo>
                      <a:pt x="26" y="576"/>
                    </a:lnTo>
                    <a:lnTo>
                      <a:pt x="32" y="576"/>
                    </a:lnTo>
                    <a:lnTo>
                      <a:pt x="544" y="576"/>
                    </a:lnTo>
                    <a:lnTo>
                      <a:pt x="544" y="576"/>
                    </a:lnTo>
                    <a:close/>
                  </a:path>
                </a:pathLst>
              </a:custGeom>
              <a:solidFill>
                <a:srgbClr val="7BB3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20" name="Freeform 36">
                <a:extLst>
                  <a:ext uri="{FF2B5EF4-FFF2-40B4-BE49-F238E27FC236}">
                    <a16:creationId xmlns:a16="http://schemas.microsoft.com/office/drawing/2014/main" id="{EB48CAAC-958A-1B86-21A1-932B0A5D6FB6}"/>
                  </a:ext>
                </a:extLst>
              </p:cNvPr>
              <p:cNvSpPr>
                <a:spLocks noEditPoints="1"/>
              </p:cNvSpPr>
              <p:nvPr/>
            </p:nvSpPr>
            <p:spPr bwMode="auto">
              <a:xfrm>
                <a:off x="6188075" y="3087688"/>
                <a:ext cx="787400" cy="679450"/>
              </a:xfrm>
              <a:custGeom>
                <a:avLst/>
                <a:gdLst>
                  <a:gd name="T0" fmla="*/ 418 w 496"/>
                  <a:gd name="T1" fmla="*/ 414 h 428"/>
                  <a:gd name="T2" fmla="*/ 384 w 496"/>
                  <a:gd name="T3" fmla="*/ 414 h 428"/>
                  <a:gd name="T4" fmla="*/ 346 w 496"/>
                  <a:gd name="T5" fmla="*/ 420 h 428"/>
                  <a:gd name="T6" fmla="*/ 284 w 496"/>
                  <a:gd name="T7" fmla="*/ 408 h 428"/>
                  <a:gd name="T8" fmla="*/ 244 w 496"/>
                  <a:gd name="T9" fmla="*/ 380 h 428"/>
                  <a:gd name="T10" fmla="*/ 210 w 496"/>
                  <a:gd name="T11" fmla="*/ 332 h 428"/>
                  <a:gd name="T12" fmla="*/ 202 w 496"/>
                  <a:gd name="T13" fmla="*/ 278 h 428"/>
                  <a:gd name="T14" fmla="*/ 220 w 496"/>
                  <a:gd name="T15" fmla="*/ 226 h 428"/>
                  <a:gd name="T16" fmla="*/ 262 w 496"/>
                  <a:gd name="T17" fmla="*/ 182 h 428"/>
                  <a:gd name="T18" fmla="*/ 302 w 496"/>
                  <a:gd name="T19" fmla="*/ 164 h 428"/>
                  <a:gd name="T20" fmla="*/ 360 w 496"/>
                  <a:gd name="T21" fmla="*/ 158 h 428"/>
                  <a:gd name="T22" fmla="*/ 414 w 496"/>
                  <a:gd name="T23" fmla="*/ 172 h 428"/>
                  <a:gd name="T24" fmla="*/ 460 w 496"/>
                  <a:gd name="T25" fmla="*/ 204 h 428"/>
                  <a:gd name="T26" fmla="*/ 492 w 496"/>
                  <a:gd name="T27" fmla="*/ 256 h 428"/>
                  <a:gd name="T28" fmla="*/ 484 w 496"/>
                  <a:gd name="T29" fmla="*/ 342 h 428"/>
                  <a:gd name="T30" fmla="*/ 448 w 496"/>
                  <a:gd name="T31" fmla="*/ 388 h 428"/>
                  <a:gd name="T32" fmla="*/ 446 w 496"/>
                  <a:gd name="T33" fmla="*/ 418 h 428"/>
                  <a:gd name="T34" fmla="*/ 282 w 496"/>
                  <a:gd name="T35" fmla="*/ 268 h 428"/>
                  <a:gd name="T36" fmla="*/ 298 w 496"/>
                  <a:gd name="T37" fmla="*/ 258 h 428"/>
                  <a:gd name="T38" fmla="*/ 296 w 496"/>
                  <a:gd name="T39" fmla="*/ 238 h 428"/>
                  <a:gd name="T40" fmla="*/ 276 w 496"/>
                  <a:gd name="T41" fmla="*/ 234 h 428"/>
                  <a:gd name="T42" fmla="*/ 266 w 496"/>
                  <a:gd name="T43" fmla="*/ 250 h 428"/>
                  <a:gd name="T44" fmla="*/ 282 w 496"/>
                  <a:gd name="T45" fmla="*/ 268 h 428"/>
                  <a:gd name="T46" fmla="*/ 384 w 496"/>
                  <a:gd name="T47" fmla="*/ 234 h 428"/>
                  <a:gd name="T48" fmla="*/ 372 w 496"/>
                  <a:gd name="T49" fmla="*/ 250 h 428"/>
                  <a:gd name="T50" fmla="*/ 390 w 496"/>
                  <a:gd name="T51" fmla="*/ 268 h 428"/>
                  <a:gd name="T52" fmla="*/ 406 w 496"/>
                  <a:gd name="T53" fmla="*/ 258 h 428"/>
                  <a:gd name="T54" fmla="*/ 402 w 496"/>
                  <a:gd name="T55" fmla="*/ 238 h 428"/>
                  <a:gd name="T56" fmla="*/ 244 w 496"/>
                  <a:gd name="T57" fmla="*/ 100 h 428"/>
                  <a:gd name="T58" fmla="*/ 224 w 496"/>
                  <a:gd name="T59" fmla="*/ 114 h 428"/>
                  <a:gd name="T60" fmla="*/ 230 w 496"/>
                  <a:gd name="T61" fmla="*/ 136 h 428"/>
                  <a:gd name="T62" fmla="*/ 252 w 496"/>
                  <a:gd name="T63" fmla="*/ 140 h 428"/>
                  <a:gd name="T64" fmla="*/ 264 w 496"/>
                  <a:gd name="T65" fmla="*/ 122 h 428"/>
                  <a:gd name="T66" fmla="*/ 244 w 496"/>
                  <a:gd name="T67" fmla="*/ 100 h 428"/>
                  <a:gd name="T68" fmla="*/ 132 w 496"/>
                  <a:gd name="T69" fmla="*/ 114 h 428"/>
                  <a:gd name="T70" fmla="*/ 112 w 496"/>
                  <a:gd name="T71" fmla="*/ 100 h 428"/>
                  <a:gd name="T72" fmla="*/ 90 w 496"/>
                  <a:gd name="T73" fmla="*/ 120 h 428"/>
                  <a:gd name="T74" fmla="*/ 102 w 496"/>
                  <a:gd name="T75" fmla="*/ 140 h 428"/>
                  <a:gd name="T76" fmla="*/ 126 w 496"/>
                  <a:gd name="T77" fmla="*/ 136 h 428"/>
                  <a:gd name="T78" fmla="*/ 346 w 496"/>
                  <a:gd name="T79" fmla="*/ 140 h 428"/>
                  <a:gd name="T80" fmla="*/ 296 w 496"/>
                  <a:gd name="T81" fmla="*/ 148 h 428"/>
                  <a:gd name="T82" fmla="*/ 240 w 496"/>
                  <a:gd name="T83" fmla="*/ 178 h 428"/>
                  <a:gd name="T84" fmla="*/ 206 w 496"/>
                  <a:gd name="T85" fmla="*/ 214 h 428"/>
                  <a:gd name="T86" fmla="*/ 184 w 496"/>
                  <a:gd name="T87" fmla="*/ 274 h 428"/>
                  <a:gd name="T88" fmla="*/ 132 w 496"/>
                  <a:gd name="T89" fmla="*/ 302 h 428"/>
                  <a:gd name="T90" fmla="*/ 114 w 496"/>
                  <a:gd name="T91" fmla="*/ 306 h 428"/>
                  <a:gd name="T92" fmla="*/ 74 w 496"/>
                  <a:gd name="T93" fmla="*/ 294 h 428"/>
                  <a:gd name="T94" fmla="*/ 72 w 496"/>
                  <a:gd name="T95" fmla="*/ 278 h 428"/>
                  <a:gd name="T96" fmla="*/ 32 w 496"/>
                  <a:gd name="T97" fmla="*/ 242 h 428"/>
                  <a:gd name="T98" fmla="*/ 0 w 496"/>
                  <a:gd name="T99" fmla="*/ 160 h 428"/>
                  <a:gd name="T100" fmla="*/ 12 w 496"/>
                  <a:gd name="T101" fmla="*/ 96 h 428"/>
                  <a:gd name="T102" fmla="*/ 62 w 496"/>
                  <a:gd name="T103" fmla="*/ 36 h 428"/>
                  <a:gd name="T104" fmla="*/ 116 w 496"/>
                  <a:gd name="T105" fmla="*/ 8 h 428"/>
                  <a:gd name="T106" fmla="*/ 226 w 496"/>
                  <a:gd name="T107" fmla="*/ 8 h 428"/>
                  <a:gd name="T108" fmla="*/ 316 w 496"/>
                  <a:gd name="T109" fmla="*/ 68 h 428"/>
                  <a:gd name="T110" fmla="*/ 342 w 496"/>
                  <a:gd name="T111" fmla="*/ 1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28">
                    <a:moveTo>
                      <a:pt x="450" y="428"/>
                    </a:moveTo>
                    <a:lnTo>
                      <a:pt x="450" y="428"/>
                    </a:lnTo>
                    <a:lnTo>
                      <a:pt x="428" y="418"/>
                    </a:lnTo>
                    <a:lnTo>
                      <a:pt x="418" y="414"/>
                    </a:lnTo>
                    <a:lnTo>
                      <a:pt x="406" y="410"/>
                    </a:lnTo>
                    <a:lnTo>
                      <a:pt x="406" y="410"/>
                    </a:lnTo>
                    <a:lnTo>
                      <a:pt x="396" y="412"/>
                    </a:lnTo>
                    <a:lnTo>
                      <a:pt x="384" y="414"/>
                    </a:lnTo>
                    <a:lnTo>
                      <a:pt x="374" y="418"/>
                    </a:lnTo>
                    <a:lnTo>
                      <a:pt x="362" y="420"/>
                    </a:lnTo>
                    <a:lnTo>
                      <a:pt x="362" y="420"/>
                    </a:lnTo>
                    <a:lnTo>
                      <a:pt x="346" y="420"/>
                    </a:lnTo>
                    <a:lnTo>
                      <a:pt x="330" y="420"/>
                    </a:lnTo>
                    <a:lnTo>
                      <a:pt x="314" y="418"/>
                    </a:lnTo>
                    <a:lnTo>
                      <a:pt x="298" y="414"/>
                    </a:lnTo>
                    <a:lnTo>
                      <a:pt x="284" y="408"/>
                    </a:lnTo>
                    <a:lnTo>
                      <a:pt x="270" y="400"/>
                    </a:lnTo>
                    <a:lnTo>
                      <a:pt x="256" y="390"/>
                    </a:lnTo>
                    <a:lnTo>
                      <a:pt x="244" y="380"/>
                    </a:lnTo>
                    <a:lnTo>
                      <a:pt x="244" y="380"/>
                    </a:lnTo>
                    <a:lnTo>
                      <a:pt x="232" y="368"/>
                    </a:lnTo>
                    <a:lnTo>
                      <a:pt x="222" y="356"/>
                    </a:lnTo>
                    <a:lnTo>
                      <a:pt x="216" y="344"/>
                    </a:lnTo>
                    <a:lnTo>
                      <a:pt x="210" y="332"/>
                    </a:lnTo>
                    <a:lnTo>
                      <a:pt x="204" y="318"/>
                    </a:lnTo>
                    <a:lnTo>
                      <a:pt x="202" y="304"/>
                    </a:lnTo>
                    <a:lnTo>
                      <a:pt x="200" y="292"/>
                    </a:lnTo>
                    <a:lnTo>
                      <a:pt x="202" y="278"/>
                    </a:lnTo>
                    <a:lnTo>
                      <a:pt x="204" y="264"/>
                    </a:lnTo>
                    <a:lnTo>
                      <a:pt x="208" y="250"/>
                    </a:lnTo>
                    <a:lnTo>
                      <a:pt x="212" y="238"/>
                    </a:lnTo>
                    <a:lnTo>
                      <a:pt x="220" y="226"/>
                    </a:lnTo>
                    <a:lnTo>
                      <a:pt x="228" y="214"/>
                    </a:lnTo>
                    <a:lnTo>
                      <a:pt x="238" y="202"/>
                    </a:lnTo>
                    <a:lnTo>
                      <a:pt x="250" y="192"/>
                    </a:lnTo>
                    <a:lnTo>
                      <a:pt x="262" y="182"/>
                    </a:lnTo>
                    <a:lnTo>
                      <a:pt x="262" y="182"/>
                    </a:lnTo>
                    <a:lnTo>
                      <a:pt x="276" y="176"/>
                    </a:lnTo>
                    <a:lnTo>
                      <a:pt x="288" y="170"/>
                    </a:lnTo>
                    <a:lnTo>
                      <a:pt x="302" y="164"/>
                    </a:lnTo>
                    <a:lnTo>
                      <a:pt x="316" y="162"/>
                    </a:lnTo>
                    <a:lnTo>
                      <a:pt x="330" y="158"/>
                    </a:lnTo>
                    <a:lnTo>
                      <a:pt x="344" y="158"/>
                    </a:lnTo>
                    <a:lnTo>
                      <a:pt x="360" y="158"/>
                    </a:lnTo>
                    <a:lnTo>
                      <a:pt x="374" y="160"/>
                    </a:lnTo>
                    <a:lnTo>
                      <a:pt x="388" y="162"/>
                    </a:lnTo>
                    <a:lnTo>
                      <a:pt x="402" y="166"/>
                    </a:lnTo>
                    <a:lnTo>
                      <a:pt x="414" y="172"/>
                    </a:lnTo>
                    <a:lnTo>
                      <a:pt x="428" y="178"/>
                    </a:lnTo>
                    <a:lnTo>
                      <a:pt x="440" y="186"/>
                    </a:lnTo>
                    <a:lnTo>
                      <a:pt x="450" y="194"/>
                    </a:lnTo>
                    <a:lnTo>
                      <a:pt x="460" y="204"/>
                    </a:lnTo>
                    <a:lnTo>
                      <a:pt x="470" y="214"/>
                    </a:lnTo>
                    <a:lnTo>
                      <a:pt x="470" y="214"/>
                    </a:lnTo>
                    <a:lnTo>
                      <a:pt x="484" y="234"/>
                    </a:lnTo>
                    <a:lnTo>
                      <a:pt x="492" y="256"/>
                    </a:lnTo>
                    <a:lnTo>
                      <a:pt x="496" y="278"/>
                    </a:lnTo>
                    <a:lnTo>
                      <a:pt x="496" y="300"/>
                    </a:lnTo>
                    <a:lnTo>
                      <a:pt x="494" y="320"/>
                    </a:lnTo>
                    <a:lnTo>
                      <a:pt x="484" y="342"/>
                    </a:lnTo>
                    <a:lnTo>
                      <a:pt x="472" y="360"/>
                    </a:lnTo>
                    <a:lnTo>
                      <a:pt x="456" y="378"/>
                    </a:lnTo>
                    <a:lnTo>
                      <a:pt x="456" y="378"/>
                    </a:lnTo>
                    <a:lnTo>
                      <a:pt x="448" y="388"/>
                    </a:lnTo>
                    <a:lnTo>
                      <a:pt x="442" y="396"/>
                    </a:lnTo>
                    <a:lnTo>
                      <a:pt x="442" y="406"/>
                    </a:lnTo>
                    <a:lnTo>
                      <a:pt x="446" y="418"/>
                    </a:lnTo>
                    <a:lnTo>
                      <a:pt x="446" y="418"/>
                    </a:lnTo>
                    <a:lnTo>
                      <a:pt x="448" y="422"/>
                    </a:lnTo>
                    <a:lnTo>
                      <a:pt x="450" y="428"/>
                    </a:lnTo>
                    <a:lnTo>
                      <a:pt x="450" y="428"/>
                    </a:lnTo>
                    <a:close/>
                    <a:moveTo>
                      <a:pt x="282" y="268"/>
                    </a:moveTo>
                    <a:lnTo>
                      <a:pt x="282" y="268"/>
                    </a:lnTo>
                    <a:lnTo>
                      <a:pt x="290" y="266"/>
                    </a:lnTo>
                    <a:lnTo>
                      <a:pt x="294" y="262"/>
                    </a:lnTo>
                    <a:lnTo>
                      <a:pt x="298" y="258"/>
                    </a:lnTo>
                    <a:lnTo>
                      <a:pt x="300" y="252"/>
                    </a:lnTo>
                    <a:lnTo>
                      <a:pt x="300" y="252"/>
                    </a:lnTo>
                    <a:lnTo>
                      <a:pt x="298" y="244"/>
                    </a:lnTo>
                    <a:lnTo>
                      <a:pt x="296" y="238"/>
                    </a:lnTo>
                    <a:lnTo>
                      <a:pt x="290" y="234"/>
                    </a:lnTo>
                    <a:lnTo>
                      <a:pt x="282" y="234"/>
                    </a:lnTo>
                    <a:lnTo>
                      <a:pt x="282" y="234"/>
                    </a:lnTo>
                    <a:lnTo>
                      <a:pt x="276" y="234"/>
                    </a:lnTo>
                    <a:lnTo>
                      <a:pt x="270" y="238"/>
                    </a:lnTo>
                    <a:lnTo>
                      <a:pt x="266" y="244"/>
                    </a:lnTo>
                    <a:lnTo>
                      <a:pt x="266" y="250"/>
                    </a:lnTo>
                    <a:lnTo>
                      <a:pt x="266" y="250"/>
                    </a:lnTo>
                    <a:lnTo>
                      <a:pt x="266" y="258"/>
                    </a:lnTo>
                    <a:lnTo>
                      <a:pt x="270" y="262"/>
                    </a:lnTo>
                    <a:lnTo>
                      <a:pt x="276" y="266"/>
                    </a:lnTo>
                    <a:lnTo>
                      <a:pt x="282" y="268"/>
                    </a:lnTo>
                    <a:lnTo>
                      <a:pt x="282" y="268"/>
                    </a:lnTo>
                    <a:close/>
                    <a:moveTo>
                      <a:pt x="390" y="234"/>
                    </a:moveTo>
                    <a:lnTo>
                      <a:pt x="390" y="234"/>
                    </a:lnTo>
                    <a:lnTo>
                      <a:pt x="384" y="234"/>
                    </a:lnTo>
                    <a:lnTo>
                      <a:pt x="378" y="238"/>
                    </a:lnTo>
                    <a:lnTo>
                      <a:pt x="374" y="244"/>
                    </a:lnTo>
                    <a:lnTo>
                      <a:pt x="372" y="250"/>
                    </a:lnTo>
                    <a:lnTo>
                      <a:pt x="372" y="250"/>
                    </a:lnTo>
                    <a:lnTo>
                      <a:pt x="374" y="256"/>
                    </a:lnTo>
                    <a:lnTo>
                      <a:pt x="378" y="262"/>
                    </a:lnTo>
                    <a:lnTo>
                      <a:pt x="382" y="266"/>
                    </a:lnTo>
                    <a:lnTo>
                      <a:pt x="390" y="268"/>
                    </a:lnTo>
                    <a:lnTo>
                      <a:pt x="390" y="268"/>
                    </a:lnTo>
                    <a:lnTo>
                      <a:pt x="396" y="266"/>
                    </a:lnTo>
                    <a:lnTo>
                      <a:pt x="402" y="262"/>
                    </a:lnTo>
                    <a:lnTo>
                      <a:pt x="406" y="258"/>
                    </a:lnTo>
                    <a:lnTo>
                      <a:pt x="406" y="252"/>
                    </a:lnTo>
                    <a:lnTo>
                      <a:pt x="406" y="252"/>
                    </a:lnTo>
                    <a:lnTo>
                      <a:pt x="406" y="244"/>
                    </a:lnTo>
                    <a:lnTo>
                      <a:pt x="402" y="238"/>
                    </a:lnTo>
                    <a:lnTo>
                      <a:pt x="396" y="234"/>
                    </a:lnTo>
                    <a:lnTo>
                      <a:pt x="390" y="234"/>
                    </a:lnTo>
                    <a:lnTo>
                      <a:pt x="390" y="234"/>
                    </a:lnTo>
                    <a:close/>
                    <a:moveTo>
                      <a:pt x="244" y="100"/>
                    </a:moveTo>
                    <a:lnTo>
                      <a:pt x="244" y="100"/>
                    </a:lnTo>
                    <a:lnTo>
                      <a:pt x="236" y="102"/>
                    </a:lnTo>
                    <a:lnTo>
                      <a:pt x="228" y="108"/>
                    </a:lnTo>
                    <a:lnTo>
                      <a:pt x="224" y="114"/>
                    </a:lnTo>
                    <a:lnTo>
                      <a:pt x="222" y="122"/>
                    </a:lnTo>
                    <a:lnTo>
                      <a:pt x="222" y="122"/>
                    </a:lnTo>
                    <a:lnTo>
                      <a:pt x="224" y="130"/>
                    </a:lnTo>
                    <a:lnTo>
                      <a:pt x="230" y="136"/>
                    </a:lnTo>
                    <a:lnTo>
                      <a:pt x="236" y="140"/>
                    </a:lnTo>
                    <a:lnTo>
                      <a:pt x="244" y="142"/>
                    </a:lnTo>
                    <a:lnTo>
                      <a:pt x="244" y="142"/>
                    </a:lnTo>
                    <a:lnTo>
                      <a:pt x="252" y="140"/>
                    </a:lnTo>
                    <a:lnTo>
                      <a:pt x="258" y="136"/>
                    </a:lnTo>
                    <a:lnTo>
                      <a:pt x="264" y="130"/>
                    </a:lnTo>
                    <a:lnTo>
                      <a:pt x="264" y="122"/>
                    </a:lnTo>
                    <a:lnTo>
                      <a:pt x="264" y="122"/>
                    </a:lnTo>
                    <a:lnTo>
                      <a:pt x="264" y="114"/>
                    </a:lnTo>
                    <a:lnTo>
                      <a:pt x="258" y="106"/>
                    </a:lnTo>
                    <a:lnTo>
                      <a:pt x="252" y="102"/>
                    </a:lnTo>
                    <a:lnTo>
                      <a:pt x="244" y="100"/>
                    </a:lnTo>
                    <a:lnTo>
                      <a:pt x="244" y="100"/>
                    </a:lnTo>
                    <a:close/>
                    <a:moveTo>
                      <a:pt x="132" y="122"/>
                    </a:moveTo>
                    <a:lnTo>
                      <a:pt x="132" y="122"/>
                    </a:lnTo>
                    <a:lnTo>
                      <a:pt x="132" y="114"/>
                    </a:lnTo>
                    <a:lnTo>
                      <a:pt x="128" y="108"/>
                    </a:lnTo>
                    <a:lnTo>
                      <a:pt x="120" y="102"/>
                    </a:lnTo>
                    <a:lnTo>
                      <a:pt x="112" y="100"/>
                    </a:lnTo>
                    <a:lnTo>
                      <a:pt x="112" y="100"/>
                    </a:lnTo>
                    <a:lnTo>
                      <a:pt x="104" y="102"/>
                    </a:lnTo>
                    <a:lnTo>
                      <a:pt x="98" y="106"/>
                    </a:lnTo>
                    <a:lnTo>
                      <a:pt x="92" y="112"/>
                    </a:lnTo>
                    <a:lnTo>
                      <a:pt x="90" y="120"/>
                    </a:lnTo>
                    <a:lnTo>
                      <a:pt x="90" y="120"/>
                    </a:lnTo>
                    <a:lnTo>
                      <a:pt x="92" y="128"/>
                    </a:lnTo>
                    <a:lnTo>
                      <a:pt x="96" y="136"/>
                    </a:lnTo>
                    <a:lnTo>
                      <a:pt x="102" y="140"/>
                    </a:lnTo>
                    <a:lnTo>
                      <a:pt x="112" y="142"/>
                    </a:lnTo>
                    <a:lnTo>
                      <a:pt x="112" y="142"/>
                    </a:lnTo>
                    <a:lnTo>
                      <a:pt x="120" y="140"/>
                    </a:lnTo>
                    <a:lnTo>
                      <a:pt x="126" y="136"/>
                    </a:lnTo>
                    <a:lnTo>
                      <a:pt x="130" y="130"/>
                    </a:lnTo>
                    <a:lnTo>
                      <a:pt x="132" y="122"/>
                    </a:lnTo>
                    <a:lnTo>
                      <a:pt x="132" y="122"/>
                    </a:lnTo>
                    <a:close/>
                    <a:moveTo>
                      <a:pt x="346" y="140"/>
                    </a:moveTo>
                    <a:lnTo>
                      <a:pt x="346" y="140"/>
                    </a:lnTo>
                    <a:lnTo>
                      <a:pt x="328" y="142"/>
                    </a:lnTo>
                    <a:lnTo>
                      <a:pt x="312" y="144"/>
                    </a:lnTo>
                    <a:lnTo>
                      <a:pt x="296" y="148"/>
                    </a:lnTo>
                    <a:lnTo>
                      <a:pt x="280" y="154"/>
                    </a:lnTo>
                    <a:lnTo>
                      <a:pt x="266" y="160"/>
                    </a:lnTo>
                    <a:lnTo>
                      <a:pt x="252" y="168"/>
                    </a:lnTo>
                    <a:lnTo>
                      <a:pt x="240" y="178"/>
                    </a:lnTo>
                    <a:lnTo>
                      <a:pt x="226" y="188"/>
                    </a:lnTo>
                    <a:lnTo>
                      <a:pt x="226" y="188"/>
                    </a:lnTo>
                    <a:lnTo>
                      <a:pt x="214" y="202"/>
                    </a:lnTo>
                    <a:lnTo>
                      <a:pt x="206" y="214"/>
                    </a:lnTo>
                    <a:lnTo>
                      <a:pt x="196" y="228"/>
                    </a:lnTo>
                    <a:lnTo>
                      <a:pt x="190" y="242"/>
                    </a:lnTo>
                    <a:lnTo>
                      <a:pt x="186" y="258"/>
                    </a:lnTo>
                    <a:lnTo>
                      <a:pt x="184" y="274"/>
                    </a:lnTo>
                    <a:lnTo>
                      <a:pt x="182" y="290"/>
                    </a:lnTo>
                    <a:lnTo>
                      <a:pt x="182" y="308"/>
                    </a:lnTo>
                    <a:lnTo>
                      <a:pt x="182" y="308"/>
                    </a:lnTo>
                    <a:lnTo>
                      <a:pt x="132" y="302"/>
                    </a:lnTo>
                    <a:lnTo>
                      <a:pt x="132" y="302"/>
                    </a:lnTo>
                    <a:lnTo>
                      <a:pt x="122" y="302"/>
                    </a:lnTo>
                    <a:lnTo>
                      <a:pt x="114" y="306"/>
                    </a:lnTo>
                    <a:lnTo>
                      <a:pt x="114" y="306"/>
                    </a:lnTo>
                    <a:lnTo>
                      <a:pt x="64" y="336"/>
                    </a:lnTo>
                    <a:lnTo>
                      <a:pt x="64" y="336"/>
                    </a:lnTo>
                    <a:lnTo>
                      <a:pt x="70" y="314"/>
                    </a:lnTo>
                    <a:lnTo>
                      <a:pt x="74" y="294"/>
                    </a:lnTo>
                    <a:lnTo>
                      <a:pt x="74" y="294"/>
                    </a:lnTo>
                    <a:lnTo>
                      <a:pt x="76" y="288"/>
                    </a:lnTo>
                    <a:lnTo>
                      <a:pt x="74" y="284"/>
                    </a:lnTo>
                    <a:lnTo>
                      <a:pt x="72" y="278"/>
                    </a:lnTo>
                    <a:lnTo>
                      <a:pt x="66" y="274"/>
                    </a:lnTo>
                    <a:lnTo>
                      <a:pt x="66" y="274"/>
                    </a:lnTo>
                    <a:lnTo>
                      <a:pt x="48" y="258"/>
                    </a:lnTo>
                    <a:lnTo>
                      <a:pt x="32" y="242"/>
                    </a:lnTo>
                    <a:lnTo>
                      <a:pt x="18" y="222"/>
                    </a:lnTo>
                    <a:lnTo>
                      <a:pt x="8" y="204"/>
                    </a:lnTo>
                    <a:lnTo>
                      <a:pt x="2" y="182"/>
                    </a:lnTo>
                    <a:lnTo>
                      <a:pt x="0" y="160"/>
                    </a:lnTo>
                    <a:lnTo>
                      <a:pt x="0" y="138"/>
                    </a:lnTo>
                    <a:lnTo>
                      <a:pt x="6" y="116"/>
                    </a:lnTo>
                    <a:lnTo>
                      <a:pt x="6" y="116"/>
                    </a:lnTo>
                    <a:lnTo>
                      <a:pt x="12" y="96"/>
                    </a:lnTo>
                    <a:lnTo>
                      <a:pt x="22" y="78"/>
                    </a:lnTo>
                    <a:lnTo>
                      <a:pt x="34" y="62"/>
                    </a:lnTo>
                    <a:lnTo>
                      <a:pt x="46" y="48"/>
                    </a:lnTo>
                    <a:lnTo>
                      <a:pt x="62" y="36"/>
                    </a:lnTo>
                    <a:lnTo>
                      <a:pt x="78" y="26"/>
                    </a:lnTo>
                    <a:lnTo>
                      <a:pt x="96" y="16"/>
                    </a:lnTo>
                    <a:lnTo>
                      <a:pt x="116" y="8"/>
                    </a:lnTo>
                    <a:lnTo>
                      <a:pt x="116" y="8"/>
                    </a:lnTo>
                    <a:lnTo>
                      <a:pt x="144" y="2"/>
                    </a:lnTo>
                    <a:lnTo>
                      <a:pt x="172" y="0"/>
                    </a:lnTo>
                    <a:lnTo>
                      <a:pt x="200" y="2"/>
                    </a:lnTo>
                    <a:lnTo>
                      <a:pt x="226" y="8"/>
                    </a:lnTo>
                    <a:lnTo>
                      <a:pt x="252" y="18"/>
                    </a:lnTo>
                    <a:lnTo>
                      <a:pt x="276" y="30"/>
                    </a:lnTo>
                    <a:lnTo>
                      <a:pt x="298" y="48"/>
                    </a:lnTo>
                    <a:lnTo>
                      <a:pt x="316" y="68"/>
                    </a:lnTo>
                    <a:lnTo>
                      <a:pt x="316" y="68"/>
                    </a:lnTo>
                    <a:lnTo>
                      <a:pt x="328" y="84"/>
                    </a:lnTo>
                    <a:lnTo>
                      <a:pt x="336" y="102"/>
                    </a:lnTo>
                    <a:lnTo>
                      <a:pt x="342" y="120"/>
                    </a:lnTo>
                    <a:lnTo>
                      <a:pt x="346" y="140"/>
                    </a:lnTo>
                    <a:lnTo>
                      <a:pt x="34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6" name="Group 5">
              <a:extLst>
                <a:ext uri="{FF2B5EF4-FFF2-40B4-BE49-F238E27FC236}">
                  <a16:creationId xmlns:a16="http://schemas.microsoft.com/office/drawing/2014/main" id="{F0861B28-30DF-D622-8D9B-EF3D19D75B6B}"/>
                </a:ext>
              </a:extLst>
            </p:cNvPr>
            <p:cNvGrpSpPr/>
            <p:nvPr/>
          </p:nvGrpSpPr>
          <p:grpSpPr>
            <a:xfrm>
              <a:off x="1223597" y="5206304"/>
              <a:ext cx="390295" cy="390295"/>
              <a:chOff x="5127625" y="2970213"/>
              <a:chExt cx="914400" cy="914400"/>
            </a:xfrm>
          </p:grpSpPr>
          <p:sp>
            <p:nvSpPr>
              <p:cNvPr id="14" name="Freeform 31">
                <a:extLst>
                  <a:ext uri="{FF2B5EF4-FFF2-40B4-BE49-F238E27FC236}">
                    <a16:creationId xmlns:a16="http://schemas.microsoft.com/office/drawing/2014/main" id="{FA9E0BC8-D738-DC3A-ED88-4E9A5C4A72F2}"/>
                  </a:ext>
                </a:extLst>
              </p:cNvPr>
              <p:cNvSpPr>
                <a:spLocks/>
              </p:cNvSpPr>
              <p:nvPr/>
            </p:nvSpPr>
            <p:spPr bwMode="auto">
              <a:xfrm>
                <a:off x="5127625"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30 w 576"/>
                  <a:gd name="T25" fmla="*/ 576 h 576"/>
                  <a:gd name="T26" fmla="*/ 22 w 576"/>
                  <a:gd name="T27" fmla="*/ 574 h 576"/>
                  <a:gd name="T28" fmla="*/ 16 w 576"/>
                  <a:gd name="T29" fmla="*/ 570 h 576"/>
                  <a:gd name="T30" fmla="*/ 10 w 576"/>
                  <a:gd name="T31" fmla="*/ 566 h 576"/>
                  <a:gd name="T32" fmla="*/ 6 w 576"/>
                  <a:gd name="T33" fmla="*/ 560 h 576"/>
                  <a:gd name="T34" fmla="*/ 4 w 576"/>
                  <a:gd name="T35" fmla="*/ 554 h 576"/>
                  <a:gd name="T36" fmla="*/ 2 w 576"/>
                  <a:gd name="T37" fmla="*/ 548 h 576"/>
                  <a:gd name="T38" fmla="*/ 0 w 576"/>
                  <a:gd name="T39" fmla="*/ 540 h 576"/>
                  <a:gd name="T40" fmla="*/ 0 w 576"/>
                  <a:gd name="T41" fmla="*/ 36 h 576"/>
                  <a:gd name="T42" fmla="*/ 0 w 576"/>
                  <a:gd name="T43" fmla="*/ 36 h 576"/>
                  <a:gd name="T44" fmla="*/ 2 w 576"/>
                  <a:gd name="T45" fmla="*/ 30 h 576"/>
                  <a:gd name="T46" fmla="*/ 4 w 576"/>
                  <a:gd name="T47" fmla="*/ 22 h 576"/>
                  <a:gd name="T48" fmla="*/ 6 w 576"/>
                  <a:gd name="T49" fmla="*/ 16 h 576"/>
                  <a:gd name="T50" fmla="*/ 10 w 576"/>
                  <a:gd name="T51" fmla="*/ 12 h 576"/>
                  <a:gd name="T52" fmla="*/ 16 w 576"/>
                  <a:gd name="T53" fmla="*/ 6 h 576"/>
                  <a:gd name="T54" fmla="*/ 22 w 576"/>
                  <a:gd name="T55" fmla="*/ 4 h 576"/>
                  <a:gd name="T56" fmla="*/ 30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30" y="576"/>
                    </a:lnTo>
                    <a:lnTo>
                      <a:pt x="22" y="574"/>
                    </a:lnTo>
                    <a:lnTo>
                      <a:pt x="16" y="570"/>
                    </a:lnTo>
                    <a:lnTo>
                      <a:pt x="10" y="566"/>
                    </a:lnTo>
                    <a:lnTo>
                      <a:pt x="6" y="560"/>
                    </a:lnTo>
                    <a:lnTo>
                      <a:pt x="4" y="554"/>
                    </a:lnTo>
                    <a:lnTo>
                      <a:pt x="2" y="548"/>
                    </a:lnTo>
                    <a:lnTo>
                      <a:pt x="0" y="540"/>
                    </a:lnTo>
                    <a:lnTo>
                      <a:pt x="0" y="36"/>
                    </a:lnTo>
                    <a:lnTo>
                      <a:pt x="0" y="36"/>
                    </a:lnTo>
                    <a:lnTo>
                      <a:pt x="2" y="30"/>
                    </a:lnTo>
                    <a:lnTo>
                      <a:pt x="4" y="22"/>
                    </a:lnTo>
                    <a:lnTo>
                      <a:pt x="6" y="16"/>
                    </a:lnTo>
                    <a:lnTo>
                      <a:pt x="10" y="12"/>
                    </a:lnTo>
                    <a:lnTo>
                      <a:pt x="16" y="6"/>
                    </a:lnTo>
                    <a:lnTo>
                      <a:pt x="22" y="4"/>
                    </a:lnTo>
                    <a:lnTo>
                      <a:pt x="30"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F52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5" name="Freeform 32">
                <a:extLst>
                  <a:ext uri="{FF2B5EF4-FFF2-40B4-BE49-F238E27FC236}">
                    <a16:creationId xmlns:a16="http://schemas.microsoft.com/office/drawing/2014/main" id="{26877BCA-3900-825B-7041-EE916D8FAEEA}"/>
                  </a:ext>
                </a:extLst>
              </p:cNvPr>
              <p:cNvSpPr>
                <a:spLocks/>
              </p:cNvSpPr>
              <p:nvPr/>
            </p:nvSpPr>
            <p:spPr bwMode="auto">
              <a:xfrm>
                <a:off x="5499100" y="3113088"/>
                <a:ext cx="400050" cy="771525"/>
              </a:xfrm>
              <a:custGeom>
                <a:avLst/>
                <a:gdLst>
                  <a:gd name="T0" fmla="*/ 162 w 252"/>
                  <a:gd name="T1" fmla="*/ 486 h 486"/>
                  <a:gd name="T2" fmla="*/ 162 w 252"/>
                  <a:gd name="T3" fmla="*/ 270 h 486"/>
                  <a:gd name="T4" fmla="*/ 234 w 252"/>
                  <a:gd name="T5" fmla="*/ 270 h 486"/>
                  <a:gd name="T6" fmla="*/ 252 w 252"/>
                  <a:gd name="T7" fmla="*/ 180 h 486"/>
                  <a:gd name="T8" fmla="*/ 162 w 252"/>
                  <a:gd name="T9" fmla="*/ 180 h 486"/>
                  <a:gd name="T10" fmla="*/ 162 w 252"/>
                  <a:gd name="T11" fmla="*/ 144 h 486"/>
                  <a:gd name="T12" fmla="*/ 162 w 252"/>
                  <a:gd name="T13" fmla="*/ 144 h 486"/>
                  <a:gd name="T14" fmla="*/ 164 w 252"/>
                  <a:gd name="T15" fmla="*/ 132 h 486"/>
                  <a:gd name="T16" fmla="*/ 166 w 252"/>
                  <a:gd name="T17" fmla="*/ 122 h 486"/>
                  <a:gd name="T18" fmla="*/ 170 w 252"/>
                  <a:gd name="T19" fmla="*/ 112 h 486"/>
                  <a:gd name="T20" fmla="*/ 176 w 252"/>
                  <a:gd name="T21" fmla="*/ 104 h 486"/>
                  <a:gd name="T22" fmla="*/ 184 w 252"/>
                  <a:gd name="T23" fmla="*/ 98 h 486"/>
                  <a:gd name="T24" fmla="*/ 192 w 252"/>
                  <a:gd name="T25" fmla="*/ 94 h 486"/>
                  <a:gd name="T26" fmla="*/ 204 w 252"/>
                  <a:gd name="T27" fmla="*/ 92 h 486"/>
                  <a:gd name="T28" fmla="*/ 216 w 252"/>
                  <a:gd name="T29" fmla="*/ 90 h 486"/>
                  <a:gd name="T30" fmla="*/ 252 w 252"/>
                  <a:gd name="T31" fmla="*/ 90 h 486"/>
                  <a:gd name="T32" fmla="*/ 252 w 252"/>
                  <a:gd name="T33" fmla="*/ 0 h 486"/>
                  <a:gd name="T34" fmla="*/ 252 w 252"/>
                  <a:gd name="T35" fmla="*/ 0 h 486"/>
                  <a:gd name="T36" fmla="*/ 180 w 252"/>
                  <a:gd name="T37" fmla="*/ 0 h 486"/>
                  <a:gd name="T38" fmla="*/ 180 w 252"/>
                  <a:gd name="T39" fmla="*/ 0 h 486"/>
                  <a:gd name="T40" fmla="*/ 168 w 252"/>
                  <a:gd name="T41" fmla="*/ 2 h 486"/>
                  <a:gd name="T42" fmla="*/ 156 w 252"/>
                  <a:gd name="T43" fmla="*/ 4 h 486"/>
                  <a:gd name="T44" fmla="*/ 146 w 252"/>
                  <a:gd name="T45" fmla="*/ 6 h 486"/>
                  <a:gd name="T46" fmla="*/ 136 w 252"/>
                  <a:gd name="T47" fmla="*/ 10 h 486"/>
                  <a:gd name="T48" fmla="*/ 126 w 252"/>
                  <a:gd name="T49" fmla="*/ 16 h 486"/>
                  <a:gd name="T50" fmla="*/ 118 w 252"/>
                  <a:gd name="T51" fmla="*/ 22 h 486"/>
                  <a:gd name="T52" fmla="*/ 102 w 252"/>
                  <a:gd name="T53" fmla="*/ 36 h 486"/>
                  <a:gd name="T54" fmla="*/ 90 w 252"/>
                  <a:gd name="T55" fmla="*/ 54 h 486"/>
                  <a:gd name="T56" fmla="*/ 80 w 252"/>
                  <a:gd name="T57" fmla="*/ 76 h 486"/>
                  <a:gd name="T58" fmla="*/ 74 w 252"/>
                  <a:gd name="T59" fmla="*/ 100 h 486"/>
                  <a:gd name="T60" fmla="*/ 72 w 252"/>
                  <a:gd name="T61" fmla="*/ 126 h 486"/>
                  <a:gd name="T62" fmla="*/ 72 w 252"/>
                  <a:gd name="T63" fmla="*/ 180 h 486"/>
                  <a:gd name="T64" fmla="*/ 0 w 252"/>
                  <a:gd name="T65" fmla="*/ 180 h 486"/>
                  <a:gd name="T66" fmla="*/ 0 w 252"/>
                  <a:gd name="T67" fmla="*/ 270 h 486"/>
                  <a:gd name="T68" fmla="*/ 72 w 252"/>
                  <a:gd name="T69" fmla="*/ 270 h 486"/>
                  <a:gd name="T70" fmla="*/ 72 w 252"/>
                  <a:gd name="T71" fmla="*/ 486 h 486"/>
                  <a:gd name="T72" fmla="*/ 162 w 252"/>
                  <a:gd name="T73" fmla="*/ 486 h 486"/>
                  <a:gd name="T74" fmla="*/ 162 w 252"/>
                  <a:gd name="T75"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486">
                    <a:moveTo>
                      <a:pt x="162" y="486"/>
                    </a:moveTo>
                    <a:lnTo>
                      <a:pt x="162" y="270"/>
                    </a:lnTo>
                    <a:lnTo>
                      <a:pt x="234" y="270"/>
                    </a:lnTo>
                    <a:lnTo>
                      <a:pt x="252" y="180"/>
                    </a:lnTo>
                    <a:lnTo>
                      <a:pt x="162" y="180"/>
                    </a:lnTo>
                    <a:lnTo>
                      <a:pt x="162" y="144"/>
                    </a:lnTo>
                    <a:lnTo>
                      <a:pt x="162" y="144"/>
                    </a:lnTo>
                    <a:lnTo>
                      <a:pt x="164" y="132"/>
                    </a:lnTo>
                    <a:lnTo>
                      <a:pt x="166" y="122"/>
                    </a:lnTo>
                    <a:lnTo>
                      <a:pt x="170" y="112"/>
                    </a:lnTo>
                    <a:lnTo>
                      <a:pt x="176" y="104"/>
                    </a:lnTo>
                    <a:lnTo>
                      <a:pt x="184" y="98"/>
                    </a:lnTo>
                    <a:lnTo>
                      <a:pt x="192" y="94"/>
                    </a:lnTo>
                    <a:lnTo>
                      <a:pt x="204" y="92"/>
                    </a:lnTo>
                    <a:lnTo>
                      <a:pt x="216" y="90"/>
                    </a:lnTo>
                    <a:lnTo>
                      <a:pt x="252" y="90"/>
                    </a:lnTo>
                    <a:lnTo>
                      <a:pt x="252" y="0"/>
                    </a:lnTo>
                    <a:lnTo>
                      <a:pt x="252" y="0"/>
                    </a:lnTo>
                    <a:lnTo>
                      <a:pt x="180" y="0"/>
                    </a:lnTo>
                    <a:lnTo>
                      <a:pt x="180" y="0"/>
                    </a:lnTo>
                    <a:lnTo>
                      <a:pt x="168" y="2"/>
                    </a:lnTo>
                    <a:lnTo>
                      <a:pt x="156" y="4"/>
                    </a:lnTo>
                    <a:lnTo>
                      <a:pt x="146" y="6"/>
                    </a:lnTo>
                    <a:lnTo>
                      <a:pt x="136" y="10"/>
                    </a:lnTo>
                    <a:lnTo>
                      <a:pt x="126" y="16"/>
                    </a:lnTo>
                    <a:lnTo>
                      <a:pt x="118" y="22"/>
                    </a:lnTo>
                    <a:lnTo>
                      <a:pt x="102" y="36"/>
                    </a:lnTo>
                    <a:lnTo>
                      <a:pt x="90" y="54"/>
                    </a:lnTo>
                    <a:lnTo>
                      <a:pt x="80" y="76"/>
                    </a:lnTo>
                    <a:lnTo>
                      <a:pt x="74" y="100"/>
                    </a:lnTo>
                    <a:lnTo>
                      <a:pt x="72" y="126"/>
                    </a:lnTo>
                    <a:lnTo>
                      <a:pt x="72" y="180"/>
                    </a:lnTo>
                    <a:lnTo>
                      <a:pt x="0" y="180"/>
                    </a:lnTo>
                    <a:lnTo>
                      <a:pt x="0" y="270"/>
                    </a:lnTo>
                    <a:lnTo>
                      <a:pt x="72" y="270"/>
                    </a:lnTo>
                    <a:lnTo>
                      <a:pt x="72" y="486"/>
                    </a:lnTo>
                    <a:lnTo>
                      <a:pt x="162" y="486"/>
                    </a:lnTo>
                    <a:lnTo>
                      <a:pt x="162" y="4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7" name="Group 6">
              <a:extLst>
                <a:ext uri="{FF2B5EF4-FFF2-40B4-BE49-F238E27FC236}">
                  <a16:creationId xmlns:a16="http://schemas.microsoft.com/office/drawing/2014/main" id="{AFD8469A-6AFA-DE92-D02A-10880375D872}"/>
                </a:ext>
              </a:extLst>
            </p:cNvPr>
            <p:cNvGrpSpPr/>
            <p:nvPr/>
          </p:nvGrpSpPr>
          <p:grpSpPr>
            <a:xfrm>
              <a:off x="369827" y="5206304"/>
              <a:ext cx="390295" cy="390295"/>
              <a:chOff x="3127375" y="2970213"/>
              <a:chExt cx="914400" cy="914400"/>
            </a:xfrm>
          </p:grpSpPr>
          <p:sp>
            <p:nvSpPr>
              <p:cNvPr id="9" name="Freeform 26">
                <a:extLst>
                  <a:ext uri="{FF2B5EF4-FFF2-40B4-BE49-F238E27FC236}">
                    <a16:creationId xmlns:a16="http://schemas.microsoft.com/office/drawing/2014/main" id="{976E098B-D31F-9A8E-5074-8A8CE6CFD0C9}"/>
                  </a:ext>
                </a:extLst>
              </p:cNvPr>
              <p:cNvSpPr>
                <a:spLocks/>
              </p:cNvSpPr>
              <p:nvPr/>
            </p:nvSpPr>
            <p:spPr bwMode="auto">
              <a:xfrm>
                <a:off x="3127375" y="2970213"/>
                <a:ext cx="914400" cy="914400"/>
              </a:xfrm>
              <a:custGeom>
                <a:avLst/>
                <a:gdLst>
                  <a:gd name="T0" fmla="*/ 534 w 576"/>
                  <a:gd name="T1" fmla="*/ 0 h 576"/>
                  <a:gd name="T2" fmla="*/ 42 w 576"/>
                  <a:gd name="T3" fmla="*/ 0 h 576"/>
                  <a:gd name="T4" fmla="*/ 42 w 576"/>
                  <a:gd name="T5" fmla="*/ 0 h 576"/>
                  <a:gd name="T6" fmla="*/ 34 w 576"/>
                  <a:gd name="T7" fmla="*/ 2 h 576"/>
                  <a:gd name="T8" fmla="*/ 26 w 576"/>
                  <a:gd name="T9" fmla="*/ 4 h 576"/>
                  <a:gd name="T10" fmla="*/ 18 w 576"/>
                  <a:gd name="T11" fmla="*/ 8 h 576"/>
                  <a:gd name="T12" fmla="*/ 12 w 576"/>
                  <a:gd name="T13" fmla="*/ 12 h 576"/>
                  <a:gd name="T14" fmla="*/ 8 w 576"/>
                  <a:gd name="T15" fmla="*/ 20 h 576"/>
                  <a:gd name="T16" fmla="*/ 4 w 576"/>
                  <a:gd name="T17" fmla="*/ 26 h 576"/>
                  <a:gd name="T18" fmla="*/ 0 w 576"/>
                  <a:gd name="T19" fmla="*/ 34 h 576"/>
                  <a:gd name="T20" fmla="*/ 0 w 576"/>
                  <a:gd name="T21" fmla="*/ 42 h 576"/>
                  <a:gd name="T22" fmla="*/ 0 w 576"/>
                  <a:gd name="T23" fmla="*/ 536 h 576"/>
                  <a:gd name="T24" fmla="*/ 0 w 576"/>
                  <a:gd name="T25" fmla="*/ 536 h 576"/>
                  <a:gd name="T26" fmla="*/ 0 w 576"/>
                  <a:gd name="T27" fmla="*/ 544 h 576"/>
                  <a:gd name="T28" fmla="*/ 4 w 576"/>
                  <a:gd name="T29" fmla="*/ 552 h 576"/>
                  <a:gd name="T30" fmla="*/ 8 w 576"/>
                  <a:gd name="T31" fmla="*/ 558 h 576"/>
                  <a:gd name="T32" fmla="*/ 12 w 576"/>
                  <a:gd name="T33" fmla="*/ 564 h 576"/>
                  <a:gd name="T34" fmla="*/ 18 w 576"/>
                  <a:gd name="T35" fmla="*/ 570 h 576"/>
                  <a:gd name="T36" fmla="*/ 26 w 576"/>
                  <a:gd name="T37" fmla="*/ 574 h 576"/>
                  <a:gd name="T38" fmla="*/ 34 w 576"/>
                  <a:gd name="T39" fmla="*/ 576 h 576"/>
                  <a:gd name="T40" fmla="*/ 42 w 576"/>
                  <a:gd name="T41" fmla="*/ 576 h 576"/>
                  <a:gd name="T42" fmla="*/ 534 w 576"/>
                  <a:gd name="T43" fmla="*/ 576 h 576"/>
                  <a:gd name="T44" fmla="*/ 534 w 576"/>
                  <a:gd name="T45" fmla="*/ 576 h 576"/>
                  <a:gd name="T46" fmla="*/ 542 w 576"/>
                  <a:gd name="T47" fmla="*/ 576 h 576"/>
                  <a:gd name="T48" fmla="*/ 550 w 576"/>
                  <a:gd name="T49" fmla="*/ 574 h 576"/>
                  <a:gd name="T50" fmla="*/ 558 w 576"/>
                  <a:gd name="T51" fmla="*/ 570 h 576"/>
                  <a:gd name="T52" fmla="*/ 564 w 576"/>
                  <a:gd name="T53" fmla="*/ 564 h 576"/>
                  <a:gd name="T54" fmla="*/ 568 w 576"/>
                  <a:gd name="T55" fmla="*/ 558 h 576"/>
                  <a:gd name="T56" fmla="*/ 572 w 576"/>
                  <a:gd name="T57" fmla="*/ 552 h 576"/>
                  <a:gd name="T58" fmla="*/ 576 w 576"/>
                  <a:gd name="T59" fmla="*/ 544 h 576"/>
                  <a:gd name="T60" fmla="*/ 576 w 576"/>
                  <a:gd name="T61" fmla="*/ 536 h 576"/>
                  <a:gd name="T62" fmla="*/ 576 w 576"/>
                  <a:gd name="T63" fmla="*/ 42 h 576"/>
                  <a:gd name="T64" fmla="*/ 576 w 576"/>
                  <a:gd name="T65" fmla="*/ 42 h 576"/>
                  <a:gd name="T66" fmla="*/ 576 w 576"/>
                  <a:gd name="T67" fmla="*/ 34 h 576"/>
                  <a:gd name="T68" fmla="*/ 572 w 576"/>
                  <a:gd name="T69" fmla="*/ 26 h 576"/>
                  <a:gd name="T70" fmla="*/ 568 w 576"/>
                  <a:gd name="T71" fmla="*/ 20 h 576"/>
                  <a:gd name="T72" fmla="*/ 564 w 576"/>
                  <a:gd name="T73" fmla="*/ 12 h 576"/>
                  <a:gd name="T74" fmla="*/ 558 w 576"/>
                  <a:gd name="T75" fmla="*/ 8 h 576"/>
                  <a:gd name="T76" fmla="*/ 550 w 576"/>
                  <a:gd name="T77" fmla="*/ 4 h 576"/>
                  <a:gd name="T78" fmla="*/ 542 w 576"/>
                  <a:gd name="T79" fmla="*/ 2 h 576"/>
                  <a:gd name="T80" fmla="*/ 534 w 576"/>
                  <a:gd name="T81" fmla="*/ 0 h 576"/>
                  <a:gd name="T82" fmla="*/ 534 w 576"/>
                  <a:gd name="T83"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34" y="0"/>
                    </a:moveTo>
                    <a:lnTo>
                      <a:pt x="42" y="0"/>
                    </a:lnTo>
                    <a:lnTo>
                      <a:pt x="42" y="0"/>
                    </a:lnTo>
                    <a:lnTo>
                      <a:pt x="34" y="2"/>
                    </a:lnTo>
                    <a:lnTo>
                      <a:pt x="26" y="4"/>
                    </a:lnTo>
                    <a:lnTo>
                      <a:pt x="18" y="8"/>
                    </a:lnTo>
                    <a:lnTo>
                      <a:pt x="12" y="12"/>
                    </a:lnTo>
                    <a:lnTo>
                      <a:pt x="8" y="20"/>
                    </a:lnTo>
                    <a:lnTo>
                      <a:pt x="4" y="26"/>
                    </a:lnTo>
                    <a:lnTo>
                      <a:pt x="0" y="34"/>
                    </a:lnTo>
                    <a:lnTo>
                      <a:pt x="0" y="42"/>
                    </a:lnTo>
                    <a:lnTo>
                      <a:pt x="0" y="536"/>
                    </a:lnTo>
                    <a:lnTo>
                      <a:pt x="0" y="536"/>
                    </a:lnTo>
                    <a:lnTo>
                      <a:pt x="0" y="544"/>
                    </a:lnTo>
                    <a:lnTo>
                      <a:pt x="4" y="552"/>
                    </a:lnTo>
                    <a:lnTo>
                      <a:pt x="8" y="558"/>
                    </a:lnTo>
                    <a:lnTo>
                      <a:pt x="12" y="564"/>
                    </a:lnTo>
                    <a:lnTo>
                      <a:pt x="18" y="570"/>
                    </a:lnTo>
                    <a:lnTo>
                      <a:pt x="26" y="574"/>
                    </a:lnTo>
                    <a:lnTo>
                      <a:pt x="34" y="576"/>
                    </a:lnTo>
                    <a:lnTo>
                      <a:pt x="42" y="576"/>
                    </a:lnTo>
                    <a:lnTo>
                      <a:pt x="534" y="576"/>
                    </a:lnTo>
                    <a:lnTo>
                      <a:pt x="534" y="576"/>
                    </a:lnTo>
                    <a:lnTo>
                      <a:pt x="542" y="576"/>
                    </a:lnTo>
                    <a:lnTo>
                      <a:pt x="550" y="574"/>
                    </a:lnTo>
                    <a:lnTo>
                      <a:pt x="558" y="570"/>
                    </a:lnTo>
                    <a:lnTo>
                      <a:pt x="564" y="564"/>
                    </a:lnTo>
                    <a:lnTo>
                      <a:pt x="568" y="558"/>
                    </a:lnTo>
                    <a:lnTo>
                      <a:pt x="572" y="552"/>
                    </a:lnTo>
                    <a:lnTo>
                      <a:pt x="576" y="544"/>
                    </a:lnTo>
                    <a:lnTo>
                      <a:pt x="576" y="536"/>
                    </a:lnTo>
                    <a:lnTo>
                      <a:pt x="576" y="42"/>
                    </a:lnTo>
                    <a:lnTo>
                      <a:pt x="576" y="42"/>
                    </a:lnTo>
                    <a:lnTo>
                      <a:pt x="576" y="34"/>
                    </a:lnTo>
                    <a:lnTo>
                      <a:pt x="572" y="26"/>
                    </a:lnTo>
                    <a:lnTo>
                      <a:pt x="568" y="20"/>
                    </a:lnTo>
                    <a:lnTo>
                      <a:pt x="564" y="12"/>
                    </a:lnTo>
                    <a:lnTo>
                      <a:pt x="558" y="8"/>
                    </a:lnTo>
                    <a:lnTo>
                      <a:pt x="550" y="4"/>
                    </a:lnTo>
                    <a:lnTo>
                      <a:pt x="542" y="2"/>
                    </a:lnTo>
                    <a:lnTo>
                      <a:pt x="534" y="0"/>
                    </a:lnTo>
                    <a:lnTo>
                      <a:pt x="534" y="0"/>
                    </a:lnTo>
                    <a:close/>
                  </a:path>
                </a:pathLst>
              </a:custGeom>
              <a:solidFill>
                <a:srgbClr val="00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0" name="Freeform 27">
                <a:extLst>
                  <a:ext uri="{FF2B5EF4-FFF2-40B4-BE49-F238E27FC236}">
                    <a16:creationId xmlns:a16="http://schemas.microsoft.com/office/drawing/2014/main" id="{BD836575-6904-ED99-C208-66E67267EE06}"/>
                  </a:ext>
                </a:extLst>
              </p:cNvPr>
              <p:cNvSpPr>
                <a:spLocks noEditPoints="1"/>
              </p:cNvSpPr>
              <p:nvPr/>
            </p:nvSpPr>
            <p:spPr bwMode="auto">
              <a:xfrm>
                <a:off x="3251200" y="3097213"/>
                <a:ext cx="158750" cy="654050"/>
              </a:xfrm>
              <a:custGeom>
                <a:avLst/>
                <a:gdLst>
                  <a:gd name="T0" fmla="*/ 8 w 100"/>
                  <a:gd name="T1" fmla="*/ 136 h 412"/>
                  <a:gd name="T2" fmla="*/ 92 w 100"/>
                  <a:gd name="T3" fmla="*/ 136 h 412"/>
                  <a:gd name="T4" fmla="*/ 92 w 100"/>
                  <a:gd name="T5" fmla="*/ 412 h 412"/>
                  <a:gd name="T6" fmla="*/ 8 w 100"/>
                  <a:gd name="T7" fmla="*/ 412 h 412"/>
                  <a:gd name="T8" fmla="*/ 8 w 100"/>
                  <a:gd name="T9" fmla="*/ 136 h 412"/>
                  <a:gd name="T10" fmla="*/ 8 w 100"/>
                  <a:gd name="T11" fmla="*/ 136 h 412"/>
                  <a:gd name="T12" fmla="*/ 50 w 100"/>
                  <a:gd name="T13" fmla="*/ 0 h 412"/>
                  <a:gd name="T14" fmla="*/ 50 w 100"/>
                  <a:gd name="T15" fmla="*/ 0 h 412"/>
                  <a:gd name="T16" fmla="*/ 60 w 100"/>
                  <a:gd name="T17" fmla="*/ 2 h 412"/>
                  <a:gd name="T18" fmla="*/ 70 w 100"/>
                  <a:gd name="T19" fmla="*/ 4 h 412"/>
                  <a:gd name="T20" fmla="*/ 78 w 100"/>
                  <a:gd name="T21" fmla="*/ 8 h 412"/>
                  <a:gd name="T22" fmla="*/ 86 w 100"/>
                  <a:gd name="T23" fmla="*/ 14 h 412"/>
                  <a:gd name="T24" fmla="*/ 92 w 100"/>
                  <a:gd name="T25" fmla="*/ 22 h 412"/>
                  <a:gd name="T26" fmla="*/ 96 w 100"/>
                  <a:gd name="T27" fmla="*/ 30 h 412"/>
                  <a:gd name="T28" fmla="*/ 98 w 100"/>
                  <a:gd name="T29" fmla="*/ 40 h 412"/>
                  <a:gd name="T30" fmla="*/ 100 w 100"/>
                  <a:gd name="T31" fmla="*/ 50 h 412"/>
                  <a:gd name="T32" fmla="*/ 100 w 100"/>
                  <a:gd name="T33" fmla="*/ 50 h 412"/>
                  <a:gd name="T34" fmla="*/ 98 w 100"/>
                  <a:gd name="T35" fmla="*/ 60 h 412"/>
                  <a:gd name="T36" fmla="*/ 96 w 100"/>
                  <a:gd name="T37" fmla="*/ 68 h 412"/>
                  <a:gd name="T38" fmla="*/ 92 w 100"/>
                  <a:gd name="T39" fmla="*/ 78 h 412"/>
                  <a:gd name="T40" fmla="*/ 86 w 100"/>
                  <a:gd name="T41" fmla="*/ 84 h 412"/>
                  <a:gd name="T42" fmla="*/ 78 w 100"/>
                  <a:gd name="T43" fmla="*/ 90 h 412"/>
                  <a:gd name="T44" fmla="*/ 70 w 100"/>
                  <a:gd name="T45" fmla="*/ 96 h 412"/>
                  <a:gd name="T46" fmla="*/ 60 w 100"/>
                  <a:gd name="T47" fmla="*/ 98 h 412"/>
                  <a:gd name="T48" fmla="*/ 50 w 100"/>
                  <a:gd name="T49" fmla="*/ 100 h 412"/>
                  <a:gd name="T50" fmla="*/ 50 w 100"/>
                  <a:gd name="T51" fmla="*/ 100 h 412"/>
                  <a:gd name="T52" fmla="*/ 40 w 100"/>
                  <a:gd name="T53" fmla="*/ 98 h 412"/>
                  <a:gd name="T54" fmla="*/ 30 w 100"/>
                  <a:gd name="T55" fmla="*/ 96 h 412"/>
                  <a:gd name="T56" fmla="*/ 22 w 100"/>
                  <a:gd name="T57" fmla="*/ 90 h 412"/>
                  <a:gd name="T58" fmla="*/ 16 w 100"/>
                  <a:gd name="T59" fmla="*/ 84 h 412"/>
                  <a:gd name="T60" fmla="*/ 10 w 100"/>
                  <a:gd name="T61" fmla="*/ 78 h 412"/>
                  <a:gd name="T62" fmla="*/ 4 w 100"/>
                  <a:gd name="T63" fmla="*/ 68 h 412"/>
                  <a:gd name="T64" fmla="*/ 2 w 100"/>
                  <a:gd name="T65" fmla="*/ 60 h 412"/>
                  <a:gd name="T66" fmla="*/ 0 w 100"/>
                  <a:gd name="T67" fmla="*/ 50 h 412"/>
                  <a:gd name="T68" fmla="*/ 0 w 100"/>
                  <a:gd name="T69" fmla="*/ 50 h 412"/>
                  <a:gd name="T70" fmla="*/ 2 w 100"/>
                  <a:gd name="T71" fmla="*/ 40 h 412"/>
                  <a:gd name="T72" fmla="*/ 4 w 100"/>
                  <a:gd name="T73" fmla="*/ 30 h 412"/>
                  <a:gd name="T74" fmla="*/ 10 w 100"/>
                  <a:gd name="T75" fmla="*/ 22 h 412"/>
                  <a:gd name="T76" fmla="*/ 16 w 100"/>
                  <a:gd name="T77" fmla="*/ 14 h 412"/>
                  <a:gd name="T78" fmla="*/ 22 w 100"/>
                  <a:gd name="T79" fmla="*/ 8 h 412"/>
                  <a:gd name="T80" fmla="*/ 30 w 100"/>
                  <a:gd name="T81" fmla="*/ 4 h 412"/>
                  <a:gd name="T82" fmla="*/ 40 w 100"/>
                  <a:gd name="T83" fmla="*/ 2 h 412"/>
                  <a:gd name="T84" fmla="*/ 50 w 100"/>
                  <a:gd name="T8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412">
                    <a:moveTo>
                      <a:pt x="8" y="136"/>
                    </a:moveTo>
                    <a:lnTo>
                      <a:pt x="92" y="136"/>
                    </a:lnTo>
                    <a:lnTo>
                      <a:pt x="92" y="412"/>
                    </a:lnTo>
                    <a:lnTo>
                      <a:pt x="8" y="412"/>
                    </a:lnTo>
                    <a:lnTo>
                      <a:pt x="8" y="136"/>
                    </a:lnTo>
                    <a:lnTo>
                      <a:pt x="8" y="136"/>
                    </a:lnTo>
                    <a:close/>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1" name="Freeform 28">
                <a:extLst>
                  <a:ext uri="{FF2B5EF4-FFF2-40B4-BE49-F238E27FC236}">
                    <a16:creationId xmlns:a16="http://schemas.microsoft.com/office/drawing/2014/main" id="{603AAB0E-8C34-6142-FDCB-833E191A081D}"/>
                  </a:ext>
                </a:extLst>
              </p:cNvPr>
              <p:cNvSpPr>
                <a:spLocks/>
              </p:cNvSpPr>
              <p:nvPr/>
            </p:nvSpPr>
            <p:spPr bwMode="auto">
              <a:xfrm>
                <a:off x="3263900" y="3313113"/>
                <a:ext cx="133350" cy="438150"/>
              </a:xfrm>
              <a:custGeom>
                <a:avLst/>
                <a:gdLst>
                  <a:gd name="T0" fmla="*/ 0 w 84"/>
                  <a:gd name="T1" fmla="*/ 0 h 276"/>
                  <a:gd name="T2" fmla="*/ 84 w 84"/>
                  <a:gd name="T3" fmla="*/ 0 h 276"/>
                  <a:gd name="T4" fmla="*/ 84 w 84"/>
                  <a:gd name="T5" fmla="*/ 276 h 276"/>
                  <a:gd name="T6" fmla="*/ 0 w 84"/>
                  <a:gd name="T7" fmla="*/ 276 h 276"/>
                  <a:gd name="T8" fmla="*/ 0 w 84"/>
                  <a:gd name="T9" fmla="*/ 0 h 276"/>
                  <a:gd name="T10" fmla="*/ 0 w 84"/>
                  <a:gd name="T11" fmla="*/ 0 h 276"/>
                </a:gdLst>
                <a:ahLst/>
                <a:cxnLst>
                  <a:cxn ang="0">
                    <a:pos x="T0" y="T1"/>
                  </a:cxn>
                  <a:cxn ang="0">
                    <a:pos x="T2" y="T3"/>
                  </a:cxn>
                  <a:cxn ang="0">
                    <a:pos x="T4" y="T5"/>
                  </a:cxn>
                  <a:cxn ang="0">
                    <a:pos x="T6" y="T7"/>
                  </a:cxn>
                  <a:cxn ang="0">
                    <a:pos x="T8" y="T9"/>
                  </a:cxn>
                  <a:cxn ang="0">
                    <a:pos x="T10" y="T11"/>
                  </a:cxn>
                </a:cxnLst>
                <a:rect l="0" t="0" r="r" b="b"/>
                <a:pathLst>
                  <a:path w="84" h="276">
                    <a:moveTo>
                      <a:pt x="0" y="0"/>
                    </a:moveTo>
                    <a:lnTo>
                      <a:pt x="84" y="0"/>
                    </a:lnTo>
                    <a:lnTo>
                      <a:pt x="84" y="276"/>
                    </a:lnTo>
                    <a:lnTo>
                      <a:pt x="0" y="27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2" name="Freeform 29">
                <a:extLst>
                  <a:ext uri="{FF2B5EF4-FFF2-40B4-BE49-F238E27FC236}">
                    <a16:creationId xmlns:a16="http://schemas.microsoft.com/office/drawing/2014/main" id="{3BB9875A-CADD-548F-B113-F6A4717F15E2}"/>
                  </a:ext>
                </a:extLst>
              </p:cNvPr>
              <p:cNvSpPr>
                <a:spLocks/>
              </p:cNvSpPr>
              <p:nvPr/>
            </p:nvSpPr>
            <p:spPr bwMode="auto">
              <a:xfrm>
                <a:off x="3251200" y="3097213"/>
                <a:ext cx="158750" cy="158750"/>
              </a:xfrm>
              <a:custGeom>
                <a:avLst/>
                <a:gdLst>
                  <a:gd name="T0" fmla="*/ 50 w 100"/>
                  <a:gd name="T1" fmla="*/ 0 h 100"/>
                  <a:gd name="T2" fmla="*/ 50 w 100"/>
                  <a:gd name="T3" fmla="*/ 0 h 100"/>
                  <a:gd name="T4" fmla="*/ 60 w 100"/>
                  <a:gd name="T5" fmla="*/ 2 h 100"/>
                  <a:gd name="T6" fmla="*/ 70 w 100"/>
                  <a:gd name="T7" fmla="*/ 4 h 100"/>
                  <a:gd name="T8" fmla="*/ 78 w 100"/>
                  <a:gd name="T9" fmla="*/ 8 h 100"/>
                  <a:gd name="T10" fmla="*/ 86 w 100"/>
                  <a:gd name="T11" fmla="*/ 14 h 100"/>
                  <a:gd name="T12" fmla="*/ 92 w 100"/>
                  <a:gd name="T13" fmla="*/ 22 h 100"/>
                  <a:gd name="T14" fmla="*/ 96 w 100"/>
                  <a:gd name="T15" fmla="*/ 30 h 100"/>
                  <a:gd name="T16" fmla="*/ 98 w 100"/>
                  <a:gd name="T17" fmla="*/ 40 h 100"/>
                  <a:gd name="T18" fmla="*/ 100 w 100"/>
                  <a:gd name="T19" fmla="*/ 50 h 100"/>
                  <a:gd name="T20" fmla="*/ 100 w 100"/>
                  <a:gd name="T21" fmla="*/ 50 h 100"/>
                  <a:gd name="T22" fmla="*/ 98 w 100"/>
                  <a:gd name="T23" fmla="*/ 60 h 100"/>
                  <a:gd name="T24" fmla="*/ 96 w 100"/>
                  <a:gd name="T25" fmla="*/ 68 h 100"/>
                  <a:gd name="T26" fmla="*/ 92 w 100"/>
                  <a:gd name="T27" fmla="*/ 78 h 100"/>
                  <a:gd name="T28" fmla="*/ 86 w 100"/>
                  <a:gd name="T29" fmla="*/ 84 h 100"/>
                  <a:gd name="T30" fmla="*/ 78 w 100"/>
                  <a:gd name="T31" fmla="*/ 90 h 100"/>
                  <a:gd name="T32" fmla="*/ 70 w 100"/>
                  <a:gd name="T33" fmla="*/ 96 h 100"/>
                  <a:gd name="T34" fmla="*/ 60 w 100"/>
                  <a:gd name="T35" fmla="*/ 98 h 100"/>
                  <a:gd name="T36" fmla="*/ 50 w 100"/>
                  <a:gd name="T37" fmla="*/ 100 h 100"/>
                  <a:gd name="T38" fmla="*/ 50 w 100"/>
                  <a:gd name="T39" fmla="*/ 100 h 100"/>
                  <a:gd name="T40" fmla="*/ 40 w 100"/>
                  <a:gd name="T41" fmla="*/ 98 h 100"/>
                  <a:gd name="T42" fmla="*/ 30 w 100"/>
                  <a:gd name="T43" fmla="*/ 96 h 100"/>
                  <a:gd name="T44" fmla="*/ 22 w 100"/>
                  <a:gd name="T45" fmla="*/ 90 h 100"/>
                  <a:gd name="T46" fmla="*/ 16 w 100"/>
                  <a:gd name="T47" fmla="*/ 84 h 100"/>
                  <a:gd name="T48" fmla="*/ 10 w 100"/>
                  <a:gd name="T49" fmla="*/ 78 h 100"/>
                  <a:gd name="T50" fmla="*/ 4 w 100"/>
                  <a:gd name="T51" fmla="*/ 68 h 100"/>
                  <a:gd name="T52" fmla="*/ 2 w 100"/>
                  <a:gd name="T53" fmla="*/ 60 h 100"/>
                  <a:gd name="T54" fmla="*/ 0 w 100"/>
                  <a:gd name="T55" fmla="*/ 50 h 100"/>
                  <a:gd name="T56" fmla="*/ 0 w 100"/>
                  <a:gd name="T57" fmla="*/ 50 h 100"/>
                  <a:gd name="T58" fmla="*/ 2 w 100"/>
                  <a:gd name="T59" fmla="*/ 40 h 100"/>
                  <a:gd name="T60" fmla="*/ 4 w 100"/>
                  <a:gd name="T61" fmla="*/ 30 h 100"/>
                  <a:gd name="T62" fmla="*/ 10 w 100"/>
                  <a:gd name="T63" fmla="*/ 22 h 100"/>
                  <a:gd name="T64" fmla="*/ 16 w 100"/>
                  <a:gd name="T65" fmla="*/ 14 h 100"/>
                  <a:gd name="T66" fmla="*/ 22 w 100"/>
                  <a:gd name="T67" fmla="*/ 8 h 100"/>
                  <a:gd name="T68" fmla="*/ 30 w 100"/>
                  <a:gd name="T69" fmla="*/ 4 h 100"/>
                  <a:gd name="T70" fmla="*/ 40 w 100"/>
                  <a:gd name="T71" fmla="*/ 2 h 100"/>
                  <a:gd name="T72" fmla="*/ 50 w 100"/>
                  <a:gd name="T7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00">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3" name="Freeform 30">
                <a:extLst>
                  <a:ext uri="{FF2B5EF4-FFF2-40B4-BE49-F238E27FC236}">
                    <a16:creationId xmlns:a16="http://schemas.microsoft.com/office/drawing/2014/main" id="{04DB7CAE-F24B-72A6-9EE8-94D5B971FBFC}"/>
                  </a:ext>
                </a:extLst>
              </p:cNvPr>
              <p:cNvSpPr>
                <a:spLocks/>
              </p:cNvSpPr>
              <p:nvPr/>
            </p:nvSpPr>
            <p:spPr bwMode="auto">
              <a:xfrm>
                <a:off x="3482975" y="3303588"/>
                <a:ext cx="422275" cy="447675"/>
              </a:xfrm>
              <a:custGeom>
                <a:avLst/>
                <a:gdLst>
                  <a:gd name="T0" fmla="*/ 0 w 266"/>
                  <a:gd name="T1" fmla="*/ 6 h 282"/>
                  <a:gd name="T2" fmla="*/ 82 w 266"/>
                  <a:gd name="T3" fmla="*/ 6 h 282"/>
                  <a:gd name="T4" fmla="*/ 82 w 266"/>
                  <a:gd name="T5" fmla="*/ 44 h 282"/>
                  <a:gd name="T6" fmla="*/ 84 w 266"/>
                  <a:gd name="T7" fmla="*/ 44 h 282"/>
                  <a:gd name="T8" fmla="*/ 84 w 266"/>
                  <a:gd name="T9" fmla="*/ 44 h 282"/>
                  <a:gd name="T10" fmla="*/ 88 w 266"/>
                  <a:gd name="T11" fmla="*/ 36 h 282"/>
                  <a:gd name="T12" fmla="*/ 96 w 266"/>
                  <a:gd name="T13" fmla="*/ 28 h 282"/>
                  <a:gd name="T14" fmla="*/ 104 w 266"/>
                  <a:gd name="T15" fmla="*/ 20 h 282"/>
                  <a:gd name="T16" fmla="*/ 112 w 266"/>
                  <a:gd name="T17" fmla="*/ 14 h 282"/>
                  <a:gd name="T18" fmla="*/ 124 w 266"/>
                  <a:gd name="T19" fmla="*/ 8 h 282"/>
                  <a:gd name="T20" fmla="*/ 136 w 266"/>
                  <a:gd name="T21" fmla="*/ 4 h 282"/>
                  <a:gd name="T22" fmla="*/ 150 w 266"/>
                  <a:gd name="T23" fmla="*/ 0 h 282"/>
                  <a:gd name="T24" fmla="*/ 164 w 266"/>
                  <a:gd name="T25" fmla="*/ 0 h 282"/>
                  <a:gd name="T26" fmla="*/ 164 w 266"/>
                  <a:gd name="T27" fmla="*/ 0 h 282"/>
                  <a:gd name="T28" fmla="*/ 180 w 266"/>
                  <a:gd name="T29" fmla="*/ 0 h 282"/>
                  <a:gd name="T30" fmla="*/ 194 w 266"/>
                  <a:gd name="T31" fmla="*/ 2 h 282"/>
                  <a:gd name="T32" fmla="*/ 206 w 266"/>
                  <a:gd name="T33" fmla="*/ 6 h 282"/>
                  <a:gd name="T34" fmla="*/ 216 w 266"/>
                  <a:gd name="T35" fmla="*/ 10 h 282"/>
                  <a:gd name="T36" fmla="*/ 226 w 266"/>
                  <a:gd name="T37" fmla="*/ 16 h 282"/>
                  <a:gd name="T38" fmla="*/ 234 w 266"/>
                  <a:gd name="T39" fmla="*/ 22 h 282"/>
                  <a:gd name="T40" fmla="*/ 242 w 266"/>
                  <a:gd name="T41" fmla="*/ 30 h 282"/>
                  <a:gd name="T42" fmla="*/ 248 w 266"/>
                  <a:gd name="T43" fmla="*/ 38 h 282"/>
                  <a:gd name="T44" fmla="*/ 254 w 266"/>
                  <a:gd name="T45" fmla="*/ 46 h 282"/>
                  <a:gd name="T46" fmla="*/ 258 w 266"/>
                  <a:gd name="T47" fmla="*/ 56 h 282"/>
                  <a:gd name="T48" fmla="*/ 262 w 266"/>
                  <a:gd name="T49" fmla="*/ 80 h 282"/>
                  <a:gd name="T50" fmla="*/ 266 w 266"/>
                  <a:gd name="T51" fmla="*/ 104 h 282"/>
                  <a:gd name="T52" fmla="*/ 266 w 266"/>
                  <a:gd name="T53" fmla="*/ 130 h 282"/>
                  <a:gd name="T54" fmla="*/ 266 w 266"/>
                  <a:gd name="T55" fmla="*/ 282 h 282"/>
                  <a:gd name="T56" fmla="*/ 182 w 266"/>
                  <a:gd name="T57" fmla="*/ 282 h 282"/>
                  <a:gd name="T58" fmla="*/ 182 w 266"/>
                  <a:gd name="T59" fmla="*/ 148 h 282"/>
                  <a:gd name="T60" fmla="*/ 182 w 266"/>
                  <a:gd name="T61" fmla="*/ 148 h 282"/>
                  <a:gd name="T62" fmla="*/ 180 w 266"/>
                  <a:gd name="T63" fmla="*/ 124 h 282"/>
                  <a:gd name="T64" fmla="*/ 178 w 266"/>
                  <a:gd name="T65" fmla="*/ 110 h 282"/>
                  <a:gd name="T66" fmla="*/ 176 w 266"/>
                  <a:gd name="T67" fmla="*/ 100 h 282"/>
                  <a:gd name="T68" fmla="*/ 170 w 266"/>
                  <a:gd name="T69" fmla="*/ 90 h 282"/>
                  <a:gd name="T70" fmla="*/ 162 w 266"/>
                  <a:gd name="T71" fmla="*/ 82 h 282"/>
                  <a:gd name="T72" fmla="*/ 152 w 266"/>
                  <a:gd name="T73" fmla="*/ 76 h 282"/>
                  <a:gd name="T74" fmla="*/ 138 w 266"/>
                  <a:gd name="T75" fmla="*/ 76 h 282"/>
                  <a:gd name="T76" fmla="*/ 138 w 266"/>
                  <a:gd name="T77" fmla="*/ 76 h 282"/>
                  <a:gd name="T78" fmla="*/ 122 w 266"/>
                  <a:gd name="T79" fmla="*/ 76 h 282"/>
                  <a:gd name="T80" fmla="*/ 110 w 266"/>
                  <a:gd name="T81" fmla="*/ 82 h 282"/>
                  <a:gd name="T82" fmla="*/ 102 w 266"/>
                  <a:gd name="T83" fmla="*/ 88 h 282"/>
                  <a:gd name="T84" fmla="*/ 94 w 266"/>
                  <a:gd name="T85" fmla="*/ 96 h 282"/>
                  <a:gd name="T86" fmla="*/ 90 w 266"/>
                  <a:gd name="T87" fmla="*/ 108 h 282"/>
                  <a:gd name="T88" fmla="*/ 88 w 266"/>
                  <a:gd name="T89" fmla="*/ 120 h 282"/>
                  <a:gd name="T90" fmla="*/ 86 w 266"/>
                  <a:gd name="T91" fmla="*/ 146 h 282"/>
                  <a:gd name="T92" fmla="*/ 86 w 266"/>
                  <a:gd name="T93" fmla="*/ 282 h 282"/>
                  <a:gd name="T94" fmla="*/ 0 w 266"/>
                  <a:gd name="T95" fmla="*/ 282 h 282"/>
                  <a:gd name="T96" fmla="*/ 0 w 266"/>
                  <a:gd name="T97" fmla="*/ 6 h 282"/>
                  <a:gd name="T98" fmla="*/ 0 w 266"/>
                  <a:gd name="T99"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82">
                    <a:moveTo>
                      <a:pt x="0" y="6"/>
                    </a:moveTo>
                    <a:lnTo>
                      <a:pt x="82" y="6"/>
                    </a:lnTo>
                    <a:lnTo>
                      <a:pt x="82" y="44"/>
                    </a:lnTo>
                    <a:lnTo>
                      <a:pt x="84" y="44"/>
                    </a:lnTo>
                    <a:lnTo>
                      <a:pt x="84" y="44"/>
                    </a:lnTo>
                    <a:lnTo>
                      <a:pt x="88" y="36"/>
                    </a:lnTo>
                    <a:lnTo>
                      <a:pt x="96" y="28"/>
                    </a:lnTo>
                    <a:lnTo>
                      <a:pt x="104" y="20"/>
                    </a:lnTo>
                    <a:lnTo>
                      <a:pt x="112" y="14"/>
                    </a:lnTo>
                    <a:lnTo>
                      <a:pt x="124" y="8"/>
                    </a:lnTo>
                    <a:lnTo>
                      <a:pt x="136" y="4"/>
                    </a:lnTo>
                    <a:lnTo>
                      <a:pt x="150" y="0"/>
                    </a:lnTo>
                    <a:lnTo>
                      <a:pt x="164" y="0"/>
                    </a:lnTo>
                    <a:lnTo>
                      <a:pt x="164" y="0"/>
                    </a:lnTo>
                    <a:lnTo>
                      <a:pt x="180" y="0"/>
                    </a:lnTo>
                    <a:lnTo>
                      <a:pt x="194" y="2"/>
                    </a:lnTo>
                    <a:lnTo>
                      <a:pt x="206" y="6"/>
                    </a:lnTo>
                    <a:lnTo>
                      <a:pt x="216" y="10"/>
                    </a:lnTo>
                    <a:lnTo>
                      <a:pt x="226" y="16"/>
                    </a:lnTo>
                    <a:lnTo>
                      <a:pt x="234" y="22"/>
                    </a:lnTo>
                    <a:lnTo>
                      <a:pt x="242" y="30"/>
                    </a:lnTo>
                    <a:lnTo>
                      <a:pt x="248" y="38"/>
                    </a:lnTo>
                    <a:lnTo>
                      <a:pt x="254" y="46"/>
                    </a:lnTo>
                    <a:lnTo>
                      <a:pt x="258" y="56"/>
                    </a:lnTo>
                    <a:lnTo>
                      <a:pt x="262" y="80"/>
                    </a:lnTo>
                    <a:lnTo>
                      <a:pt x="266" y="104"/>
                    </a:lnTo>
                    <a:lnTo>
                      <a:pt x="266" y="130"/>
                    </a:lnTo>
                    <a:lnTo>
                      <a:pt x="266" y="282"/>
                    </a:lnTo>
                    <a:lnTo>
                      <a:pt x="182" y="282"/>
                    </a:lnTo>
                    <a:lnTo>
                      <a:pt x="182" y="148"/>
                    </a:lnTo>
                    <a:lnTo>
                      <a:pt x="182" y="148"/>
                    </a:lnTo>
                    <a:lnTo>
                      <a:pt x="180" y="124"/>
                    </a:lnTo>
                    <a:lnTo>
                      <a:pt x="178" y="110"/>
                    </a:lnTo>
                    <a:lnTo>
                      <a:pt x="176" y="100"/>
                    </a:lnTo>
                    <a:lnTo>
                      <a:pt x="170" y="90"/>
                    </a:lnTo>
                    <a:lnTo>
                      <a:pt x="162" y="82"/>
                    </a:lnTo>
                    <a:lnTo>
                      <a:pt x="152" y="76"/>
                    </a:lnTo>
                    <a:lnTo>
                      <a:pt x="138" y="76"/>
                    </a:lnTo>
                    <a:lnTo>
                      <a:pt x="138" y="76"/>
                    </a:lnTo>
                    <a:lnTo>
                      <a:pt x="122" y="76"/>
                    </a:lnTo>
                    <a:lnTo>
                      <a:pt x="110" y="82"/>
                    </a:lnTo>
                    <a:lnTo>
                      <a:pt x="102" y="88"/>
                    </a:lnTo>
                    <a:lnTo>
                      <a:pt x="94" y="96"/>
                    </a:lnTo>
                    <a:lnTo>
                      <a:pt x="90" y="108"/>
                    </a:lnTo>
                    <a:lnTo>
                      <a:pt x="88" y="120"/>
                    </a:lnTo>
                    <a:lnTo>
                      <a:pt x="86" y="146"/>
                    </a:lnTo>
                    <a:lnTo>
                      <a:pt x="86" y="282"/>
                    </a:lnTo>
                    <a:lnTo>
                      <a:pt x="0" y="282"/>
                    </a:lnTo>
                    <a:lnTo>
                      <a:pt x="0"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pic>
          <p:nvPicPr>
            <p:cNvPr id="8" name="Graphic 7">
              <a:extLst>
                <a:ext uri="{FF2B5EF4-FFF2-40B4-BE49-F238E27FC236}">
                  <a16:creationId xmlns:a16="http://schemas.microsoft.com/office/drawing/2014/main" id="{CE97BD5E-0C62-B835-F877-5B1F44C8318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97577" y="5207799"/>
              <a:ext cx="388800" cy="388800"/>
            </a:xfrm>
            <a:prstGeom prst="rect">
              <a:avLst/>
            </a:prstGeom>
          </p:spPr>
        </p:pic>
      </p:grpSp>
    </p:spTree>
    <p:extLst>
      <p:ext uri="{BB962C8B-B14F-4D97-AF65-F5344CB8AC3E}">
        <p14:creationId xmlns:p14="http://schemas.microsoft.com/office/powerpoint/2010/main" val="36956711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3D335AFA-79EF-48E7-9FDA-A8FCF952D278}"/>
              </a:ext>
            </a:extLst>
          </p:cNvPr>
          <p:cNvSpPr txBox="1"/>
          <p:nvPr userDrawn="1">
            <p:custDataLst>
              <p:tags r:id="rId1"/>
            </p:custDataLst>
          </p:nvPr>
        </p:nvSpPr>
        <p:spPr>
          <a:xfrm>
            <a:off x="749551" y="4238700"/>
            <a:ext cx="2055050" cy="115416"/>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750" b="1" kern="1200" noProof="0" dirty="0">
                <a:solidFill>
                  <a:schemeClr val="tx2"/>
                </a:solidFill>
                <a:latin typeface="+mn-lt"/>
                <a:ea typeface="+mn-ea"/>
                <a:cs typeface="+mn-cs"/>
              </a:rPr>
              <a:t>Document Classification: KPMG Confidential</a:t>
            </a:r>
          </a:p>
        </p:txBody>
      </p:sp>
      <p:sp>
        <p:nvSpPr>
          <p:cNvPr id="22" name="Text Placeholder 2">
            <a:extLst>
              <a:ext uri="{FF2B5EF4-FFF2-40B4-BE49-F238E27FC236}">
                <a16:creationId xmlns:a16="http://schemas.microsoft.com/office/drawing/2014/main" id="{48703AF1-229E-4220-A6D7-6F1010E1F9DE}"/>
              </a:ext>
            </a:extLst>
          </p:cNvPr>
          <p:cNvSpPr>
            <a:spLocks noGrp="1"/>
          </p:cNvSpPr>
          <p:nvPr>
            <p:ph type="body" sz="quarter" idx="10"/>
          </p:nvPr>
        </p:nvSpPr>
        <p:spPr>
          <a:xfrm>
            <a:off x="749301" y="2740328"/>
            <a:ext cx="6255182" cy="1382316"/>
          </a:xfrm>
        </p:spPr>
        <p:txBody>
          <a:bodyPr anchor="b"/>
          <a:lstStyle>
            <a:lvl1pPr>
              <a:spcAft>
                <a:spcPts val="750"/>
              </a:spcAft>
              <a:defRPr sz="750" b="0">
                <a:solidFill>
                  <a:schemeClr val="tx2"/>
                </a:solidFill>
              </a:defRPr>
            </a:lvl1pPr>
            <a:lvl2pPr>
              <a:spcAft>
                <a:spcPts val="750"/>
              </a:spcAft>
              <a:defRPr sz="750" b="0">
                <a:solidFill>
                  <a:schemeClr val="tx2"/>
                </a:solidFill>
              </a:defRPr>
            </a:lvl2pPr>
          </a:lstStyle>
          <a:p>
            <a:pPr lvl="0"/>
            <a:r>
              <a:rPr lang="en-US"/>
              <a:t>Click to edit Master text styles</a:t>
            </a:r>
          </a:p>
          <a:p>
            <a:pPr lvl="1"/>
            <a:r>
              <a:rPr lang="en-US"/>
              <a:t>Second level</a:t>
            </a:r>
          </a:p>
        </p:txBody>
      </p:sp>
      <p:pic>
        <p:nvPicPr>
          <p:cNvPr id="17" name="Graphic 16">
            <a:extLst>
              <a:ext uri="{FF2B5EF4-FFF2-40B4-BE49-F238E27FC236}">
                <a16:creationId xmlns:a16="http://schemas.microsoft.com/office/drawing/2014/main" id="{C42B2CC1-3453-431E-BEB1-143BFA0FE5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9301" y="235079"/>
            <a:ext cx="786440" cy="237600"/>
          </a:xfrm>
          <a:prstGeom prst="rect">
            <a:avLst/>
          </a:prstGeom>
        </p:spPr>
      </p:pic>
      <p:sp>
        <p:nvSpPr>
          <p:cNvPr id="52" name="Text Placeholder 2">
            <a:extLst>
              <a:ext uri="{FF2B5EF4-FFF2-40B4-BE49-F238E27FC236}">
                <a16:creationId xmlns:a16="http://schemas.microsoft.com/office/drawing/2014/main" id="{D7A42A05-40D4-4F7B-970A-F6070CBF3EFF}"/>
              </a:ext>
            </a:extLst>
          </p:cNvPr>
          <p:cNvSpPr>
            <a:spLocks noGrp="1"/>
          </p:cNvSpPr>
          <p:nvPr>
            <p:ph type="body" sz="quarter" idx="14" hasCustomPrompt="1"/>
          </p:nvPr>
        </p:nvSpPr>
        <p:spPr>
          <a:xfrm>
            <a:off x="749301" y="2381219"/>
            <a:ext cx="2411738" cy="89298"/>
          </a:xfrm>
        </p:spPr>
        <p:txBody>
          <a:bodyPr/>
          <a:lstStyle>
            <a:lvl1pPr>
              <a:buFontTx/>
              <a:buNone/>
              <a:defRPr sz="825" b="1">
                <a:solidFill>
                  <a:schemeClr val="bg1"/>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r>
              <a:rPr lang="en-GB" dirty="0"/>
              <a:t>kpmg.com/</a:t>
            </a:r>
            <a:r>
              <a:rPr lang="en-GB" dirty="0" err="1"/>
              <a:t>cn</a:t>
            </a:r>
            <a:r>
              <a:rPr lang="en-GB" dirty="0"/>
              <a:t>/</a:t>
            </a:r>
            <a:r>
              <a:rPr lang="en-GB" dirty="0" err="1"/>
              <a:t>socialmedia</a:t>
            </a:r>
            <a:endParaRPr lang="en-GB" dirty="0"/>
          </a:p>
        </p:txBody>
      </p:sp>
      <p:grpSp>
        <p:nvGrpSpPr>
          <p:cNvPr id="2" name="Group 1">
            <a:extLst>
              <a:ext uri="{FF2B5EF4-FFF2-40B4-BE49-F238E27FC236}">
                <a16:creationId xmlns:a16="http://schemas.microsoft.com/office/drawing/2014/main" id="{8AE62DDB-9149-D307-0EF0-2DDD14C03160}"/>
              </a:ext>
            </a:extLst>
          </p:cNvPr>
          <p:cNvGrpSpPr/>
          <p:nvPr userDrawn="1"/>
        </p:nvGrpSpPr>
        <p:grpSpPr>
          <a:xfrm>
            <a:off x="749808" y="1968246"/>
            <a:ext cx="2531496" cy="301869"/>
            <a:chOff x="369827" y="5202238"/>
            <a:chExt cx="2531496" cy="402492"/>
          </a:xfrm>
        </p:grpSpPr>
        <p:grpSp>
          <p:nvGrpSpPr>
            <p:cNvPr id="3" name="Group 2">
              <a:extLst>
                <a:ext uri="{FF2B5EF4-FFF2-40B4-BE49-F238E27FC236}">
                  <a16:creationId xmlns:a16="http://schemas.microsoft.com/office/drawing/2014/main" id="{9441BA5C-9E7F-3C47-9E5A-A1D68E989EFA}"/>
                </a:ext>
              </a:extLst>
            </p:cNvPr>
            <p:cNvGrpSpPr/>
            <p:nvPr/>
          </p:nvGrpSpPr>
          <p:grpSpPr>
            <a:xfrm>
              <a:off x="2498831" y="5202238"/>
              <a:ext cx="402492" cy="402492"/>
              <a:chOff x="8115300" y="2960688"/>
              <a:chExt cx="942975" cy="942975"/>
            </a:xfrm>
          </p:grpSpPr>
          <p:pic>
            <p:nvPicPr>
              <p:cNvPr id="36" name="Picture 5">
                <a:extLst>
                  <a:ext uri="{FF2B5EF4-FFF2-40B4-BE49-F238E27FC236}">
                    <a16:creationId xmlns:a16="http://schemas.microsoft.com/office/drawing/2014/main" id="{D3EAF825-98E7-5DCE-777C-144BD3C79662}"/>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15300" y="2960688"/>
                <a:ext cx="9429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Freeform 40">
                <a:extLst>
                  <a:ext uri="{FF2B5EF4-FFF2-40B4-BE49-F238E27FC236}">
                    <a16:creationId xmlns:a16="http://schemas.microsoft.com/office/drawing/2014/main" id="{39C4DCFA-51D4-F337-C2EC-1A5E02022F1D}"/>
                  </a:ext>
                </a:extLst>
              </p:cNvPr>
              <p:cNvSpPr>
                <a:spLocks noEditPoints="1"/>
              </p:cNvSpPr>
              <p:nvPr/>
            </p:nvSpPr>
            <p:spPr bwMode="auto">
              <a:xfrm>
                <a:off x="8289925" y="3201988"/>
                <a:ext cx="593725" cy="450850"/>
              </a:xfrm>
              <a:custGeom>
                <a:avLst/>
                <a:gdLst>
                  <a:gd name="T0" fmla="*/ 318 w 374"/>
                  <a:gd name="T1" fmla="*/ 0 h 284"/>
                  <a:gd name="T2" fmla="*/ 56 w 374"/>
                  <a:gd name="T3" fmla="*/ 0 h 284"/>
                  <a:gd name="T4" fmla="*/ 56 w 374"/>
                  <a:gd name="T5" fmla="*/ 0 h 284"/>
                  <a:gd name="T6" fmla="*/ 44 w 374"/>
                  <a:gd name="T7" fmla="*/ 2 h 284"/>
                  <a:gd name="T8" fmla="*/ 34 w 374"/>
                  <a:gd name="T9" fmla="*/ 4 h 284"/>
                  <a:gd name="T10" fmla="*/ 24 w 374"/>
                  <a:gd name="T11" fmla="*/ 10 h 284"/>
                  <a:gd name="T12" fmla="*/ 16 w 374"/>
                  <a:gd name="T13" fmla="*/ 16 h 284"/>
                  <a:gd name="T14" fmla="*/ 8 w 374"/>
                  <a:gd name="T15" fmla="*/ 24 h 284"/>
                  <a:gd name="T16" fmla="*/ 4 w 374"/>
                  <a:gd name="T17" fmla="*/ 34 h 284"/>
                  <a:gd name="T18" fmla="*/ 0 w 374"/>
                  <a:gd name="T19" fmla="*/ 44 h 284"/>
                  <a:gd name="T20" fmla="*/ 0 w 374"/>
                  <a:gd name="T21" fmla="*/ 56 h 284"/>
                  <a:gd name="T22" fmla="*/ 0 w 374"/>
                  <a:gd name="T23" fmla="*/ 228 h 284"/>
                  <a:gd name="T24" fmla="*/ 0 w 374"/>
                  <a:gd name="T25" fmla="*/ 228 h 284"/>
                  <a:gd name="T26" fmla="*/ 0 w 374"/>
                  <a:gd name="T27" fmla="*/ 240 h 284"/>
                  <a:gd name="T28" fmla="*/ 4 w 374"/>
                  <a:gd name="T29" fmla="*/ 250 h 284"/>
                  <a:gd name="T30" fmla="*/ 8 w 374"/>
                  <a:gd name="T31" fmla="*/ 260 h 284"/>
                  <a:gd name="T32" fmla="*/ 16 w 374"/>
                  <a:gd name="T33" fmla="*/ 268 h 284"/>
                  <a:gd name="T34" fmla="*/ 24 w 374"/>
                  <a:gd name="T35" fmla="*/ 274 h 284"/>
                  <a:gd name="T36" fmla="*/ 34 w 374"/>
                  <a:gd name="T37" fmla="*/ 280 h 284"/>
                  <a:gd name="T38" fmla="*/ 44 w 374"/>
                  <a:gd name="T39" fmla="*/ 282 h 284"/>
                  <a:gd name="T40" fmla="*/ 56 w 374"/>
                  <a:gd name="T41" fmla="*/ 284 h 284"/>
                  <a:gd name="T42" fmla="*/ 318 w 374"/>
                  <a:gd name="T43" fmla="*/ 284 h 284"/>
                  <a:gd name="T44" fmla="*/ 318 w 374"/>
                  <a:gd name="T45" fmla="*/ 284 h 284"/>
                  <a:gd name="T46" fmla="*/ 330 w 374"/>
                  <a:gd name="T47" fmla="*/ 282 h 284"/>
                  <a:gd name="T48" fmla="*/ 340 w 374"/>
                  <a:gd name="T49" fmla="*/ 280 h 284"/>
                  <a:gd name="T50" fmla="*/ 350 w 374"/>
                  <a:gd name="T51" fmla="*/ 274 h 284"/>
                  <a:gd name="T52" fmla="*/ 358 w 374"/>
                  <a:gd name="T53" fmla="*/ 268 h 284"/>
                  <a:gd name="T54" fmla="*/ 364 w 374"/>
                  <a:gd name="T55" fmla="*/ 260 h 284"/>
                  <a:gd name="T56" fmla="*/ 370 w 374"/>
                  <a:gd name="T57" fmla="*/ 250 h 284"/>
                  <a:gd name="T58" fmla="*/ 372 w 374"/>
                  <a:gd name="T59" fmla="*/ 240 h 284"/>
                  <a:gd name="T60" fmla="*/ 374 w 374"/>
                  <a:gd name="T61" fmla="*/ 228 h 284"/>
                  <a:gd name="T62" fmla="*/ 374 w 374"/>
                  <a:gd name="T63" fmla="*/ 56 h 284"/>
                  <a:gd name="T64" fmla="*/ 374 w 374"/>
                  <a:gd name="T65" fmla="*/ 56 h 284"/>
                  <a:gd name="T66" fmla="*/ 372 w 374"/>
                  <a:gd name="T67" fmla="*/ 44 h 284"/>
                  <a:gd name="T68" fmla="*/ 370 w 374"/>
                  <a:gd name="T69" fmla="*/ 34 h 284"/>
                  <a:gd name="T70" fmla="*/ 364 w 374"/>
                  <a:gd name="T71" fmla="*/ 24 h 284"/>
                  <a:gd name="T72" fmla="*/ 358 w 374"/>
                  <a:gd name="T73" fmla="*/ 16 h 284"/>
                  <a:gd name="T74" fmla="*/ 350 w 374"/>
                  <a:gd name="T75" fmla="*/ 10 h 284"/>
                  <a:gd name="T76" fmla="*/ 340 w 374"/>
                  <a:gd name="T77" fmla="*/ 4 h 284"/>
                  <a:gd name="T78" fmla="*/ 330 w 374"/>
                  <a:gd name="T79" fmla="*/ 2 h 284"/>
                  <a:gd name="T80" fmla="*/ 318 w 374"/>
                  <a:gd name="T81" fmla="*/ 0 h 284"/>
                  <a:gd name="T82" fmla="*/ 318 w 374"/>
                  <a:gd name="T83" fmla="*/ 0 h 284"/>
                  <a:gd name="T84" fmla="*/ 132 w 374"/>
                  <a:gd name="T85" fmla="*/ 204 h 284"/>
                  <a:gd name="T86" fmla="*/ 132 w 374"/>
                  <a:gd name="T87" fmla="*/ 80 h 284"/>
                  <a:gd name="T88" fmla="*/ 240 w 374"/>
                  <a:gd name="T89" fmla="*/ 142 h 284"/>
                  <a:gd name="T90" fmla="*/ 132 w 374"/>
                  <a:gd name="T91" fmla="*/ 204 h 284"/>
                  <a:gd name="T92" fmla="*/ 132 w 374"/>
                  <a:gd name="T93"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4" h="284">
                    <a:moveTo>
                      <a:pt x="318" y="0"/>
                    </a:moveTo>
                    <a:lnTo>
                      <a:pt x="56" y="0"/>
                    </a:lnTo>
                    <a:lnTo>
                      <a:pt x="56" y="0"/>
                    </a:lnTo>
                    <a:lnTo>
                      <a:pt x="44" y="2"/>
                    </a:lnTo>
                    <a:lnTo>
                      <a:pt x="34" y="4"/>
                    </a:lnTo>
                    <a:lnTo>
                      <a:pt x="24" y="10"/>
                    </a:lnTo>
                    <a:lnTo>
                      <a:pt x="16" y="16"/>
                    </a:lnTo>
                    <a:lnTo>
                      <a:pt x="8" y="24"/>
                    </a:lnTo>
                    <a:lnTo>
                      <a:pt x="4" y="34"/>
                    </a:lnTo>
                    <a:lnTo>
                      <a:pt x="0" y="44"/>
                    </a:lnTo>
                    <a:lnTo>
                      <a:pt x="0" y="56"/>
                    </a:lnTo>
                    <a:lnTo>
                      <a:pt x="0" y="228"/>
                    </a:lnTo>
                    <a:lnTo>
                      <a:pt x="0" y="228"/>
                    </a:lnTo>
                    <a:lnTo>
                      <a:pt x="0" y="240"/>
                    </a:lnTo>
                    <a:lnTo>
                      <a:pt x="4" y="250"/>
                    </a:lnTo>
                    <a:lnTo>
                      <a:pt x="8" y="260"/>
                    </a:lnTo>
                    <a:lnTo>
                      <a:pt x="16" y="268"/>
                    </a:lnTo>
                    <a:lnTo>
                      <a:pt x="24" y="274"/>
                    </a:lnTo>
                    <a:lnTo>
                      <a:pt x="34" y="280"/>
                    </a:lnTo>
                    <a:lnTo>
                      <a:pt x="44" y="282"/>
                    </a:lnTo>
                    <a:lnTo>
                      <a:pt x="56" y="284"/>
                    </a:lnTo>
                    <a:lnTo>
                      <a:pt x="318" y="284"/>
                    </a:lnTo>
                    <a:lnTo>
                      <a:pt x="318" y="284"/>
                    </a:lnTo>
                    <a:lnTo>
                      <a:pt x="330" y="282"/>
                    </a:lnTo>
                    <a:lnTo>
                      <a:pt x="340" y="280"/>
                    </a:lnTo>
                    <a:lnTo>
                      <a:pt x="350" y="274"/>
                    </a:lnTo>
                    <a:lnTo>
                      <a:pt x="358" y="268"/>
                    </a:lnTo>
                    <a:lnTo>
                      <a:pt x="364" y="260"/>
                    </a:lnTo>
                    <a:lnTo>
                      <a:pt x="370" y="250"/>
                    </a:lnTo>
                    <a:lnTo>
                      <a:pt x="372" y="240"/>
                    </a:lnTo>
                    <a:lnTo>
                      <a:pt x="374" y="228"/>
                    </a:lnTo>
                    <a:lnTo>
                      <a:pt x="374" y="56"/>
                    </a:lnTo>
                    <a:lnTo>
                      <a:pt x="374" y="56"/>
                    </a:lnTo>
                    <a:lnTo>
                      <a:pt x="372" y="44"/>
                    </a:lnTo>
                    <a:lnTo>
                      <a:pt x="370" y="34"/>
                    </a:lnTo>
                    <a:lnTo>
                      <a:pt x="364" y="24"/>
                    </a:lnTo>
                    <a:lnTo>
                      <a:pt x="358" y="16"/>
                    </a:lnTo>
                    <a:lnTo>
                      <a:pt x="350" y="10"/>
                    </a:lnTo>
                    <a:lnTo>
                      <a:pt x="340" y="4"/>
                    </a:lnTo>
                    <a:lnTo>
                      <a:pt x="330" y="2"/>
                    </a:lnTo>
                    <a:lnTo>
                      <a:pt x="318" y="0"/>
                    </a:lnTo>
                    <a:lnTo>
                      <a:pt x="318" y="0"/>
                    </a:lnTo>
                    <a:close/>
                    <a:moveTo>
                      <a:pt x="132" y="204"/>
                    </a:moveTo>
                    <a:lnTo>
                      <a:pt x="132" y="80"/>
                    </a:lnTo>
                    <a:lnTo>
                      <a:pt x="240" y="142"/>
                    </a:lnTo>
                    <a:lnTo>
                      <a:pt x="132" y="204"/>
                    </a:lnTo>
                    <a:lnTo>
                      <a:pt x="13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4" name="Group 3">
              <a:extLst>
                <a:ext uri="{FF2B5EF4-FFF2-40B4-BE49-F238E27FC236}">
                  <a16:creationId xmlns:a16="http://schemas.microsoft.com/office/drawing/2014/main" id="{45B3DDB7-FB82-88E2-926B-C6D7521F75DE}"/>
                </a:ext>
              </a:extLst>
            </p:cNvPr>
            <p:cNvGrpSpPr/>
            <p:nvPr/>
          </p:nvGrpSpPr>
          <p:grpSpPr>
            <a:xfrm>
              <a:off x="2077367" y="5206304"/>
              <a:ext cx="390295" cy="390295"/>
              <a:chOff x="7127875" y="2970213"/>
              <a:chExt cx="914400" cy="914400"/>
            </a:xfrm>
          </p:grpSpPr>
          <p:sp>
            <p:nvSpPr>
              <p:cNvPr id="34" name="Freeform 37">
                <a:extLst>
                  <a:ext uri="{FF2B5EF4-FFF2-40B4-BE49-F238E27FC236}">
                    <a16:creationId xmlns:a16="http://schemas.microsoft.com/office/drawing/2014/main" id="{FBCFFBDE-5073-C4E8-A544-E4A0F5B6CF0D}"/>
                  </a:ext>
                </a:extLst>
              </p:cNvPr>
              <p:cNvSpPr>
                <a:spLocks/>
              </p:cNvSpPr>
              <p:nvPr/>
            </p:nvSpPr>
            <p:spPr bwMode="auto">
              <a:xfrm>
                <a:off x="7127875"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4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4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4" y="20"/>
                    </a:lnTo>
                    <a:lnTo>
                      <a:pt x="2" y="26"/>
                    </a:lnTo>
                    <a:lnTo>
                      <a:pt x="0" y="32"/>
                    </a:lnTo>
                    <a:lnTo>
                      <a:pt x="0" y="544"/>
                    </a:lnTo>
                    <a:lnTo>
                      <a:pt x="0" y="544"/>
                    </a:lnTo>
                    <a:lnTo>
                      <a:pt x="2" y="552"/>
                    </a:lnTo>
                    <a:lnTo>
                      <a:pt x="4" y="558"/>
                    </a:lnTo>
                    <a:lnTo>
                      <a:pt x="10" y="568"/>
                    </a:lnTo>
                    <a:lnTo>
                      <a:pt x="20" y="574"/>
                    </a:lnTo>
                    <a:lnTo>
                      <a:pt x="26" y="576"/>
                    </a:lnTo>
                    <a:lnTo>
                      <a:pt x="32" y="576"/>
                    </a:lnTo>
                    <a:lnTo>
                      <a:pt x="544" y="576"/>
                    </a:lnTo>
                    <a:lnTo>
                      <a:pt x="544" y="576"/>
                    </a:lnTo>
                    <a:close/>
                  </a:path>
                </a:pathLst>
              </a:custGeom>
              <a:solidFill>
                <a:srgbClr val="E52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35" name="Freeform 38">
                <a:extLst>
                  <a:ext uri="{FF2B5EF4-FFF2-40B4-BE49-F238E27FC236}">
                    <a16:creationId xmlns:a16="http://schemas.microsoft.com/office/drawing/2014/main" id="{0BE3E801-10EB-BC18-EE1B-C37319772C9E}"/>
                  </a:ext>
                </a:extLst>
              </p:cNvPr>
              <p:cNvSpPr>
                <a:spLocks noEditPoints="1"/>
              </p:cNvSpPr>
              <p:nvPr/>
            </p:nvSpPr>
            <p:spPr bwMode="auto">
              <a:xfrm>
                <a:off x="7248525" y="3141663"/>
                <a:ext cx="679450" cy="552450"/>
              </a:xfrm>
              <a:custGeom>
                <a:avLst/>
                <a:gdLst>
                  <a:gd name="T0" fmla="*/ 298 w 428"/>
                  <a:gd name="T1" fmla="*/ 62 h 348"/>
                  <a:gd name="T2" fmla="*/ 348 w 428"/>
                  <a:gd name="T3" fmla="*/ 70 h 348"/>
                  <a:gd name="T4" fmla="*/ 370 w 428"/>
                  <a:gd name="T5" fmla="*/ 116 h 348"/>
                  <a:gd name="T6" fmla="*/ 354 w 428"/>
                  <a:gd name="T7" fmla="*/ 142 h 348"/>
                  <a:gd name="T8" fmla="*/ 340 w 428"/>
                  <a:gd name="T9" fmla="*/ 128 h 348"/>
                  <a:gd name="T10" fmla="*/ 334 w 428"/>
                  <a:gd name="T11" fmla="*/ 96 h 348"/>
                  <a:gd name="T12" fmla="*/ 306 w 428"/>
                  <a:gd name="T13" fmla="*/ 88 h 348"/>
                  <a:gd name="T14" fmla="*/ 292 w 428"/>
                  <a:gd name="T15" fmla="*/ 78 h 348"/>
                  <a:gd name="T16" fmla="*/ 280 w 428"/>
                  <a:gd name="T17" fmla="*/ 10 h 348"/>
                  <a:gd name="T18" fmla="*/ 332 w 428"/>
                  <a:gd name="T19" fmla="*/ 2 h 348"/>
                  <a:gd name="T20" fmla="*/ 400 w 428"/>
                  <a:gd name="T21" fmla="*/ 38 h 348"/>
                  <a:gd name="T22" fmla="*/ 428 w 428"/>
                  <a:gd name="T23" fmla="*/ 116 h 348"/>
                  <a:gd name="T24" fmla="*/ 416 w 428"/>
                  <a:gd name="T25" fmla="*/ 160 h 348"/>
                  <a:gd name="T26" fmla="*/ 392 w 428"/>
                  <a:gd name="T27" fmla="*/ 152 h 348"/>
                  <a:gd name="T28" fmla="*/ 396 w 428"/>
                  <a:gd name="T29" fmla="*/ 116 h 348"/>
                  <a:gd name="T30" fmla="*/ 374 w 428"/>
                  <a:gd name="T31" fmla="*/ 60 h 348"/>
                  <a:gd name="T32" fmla="*/ 328 w 428"/>
                  <a:gd name="T33" fmla="*/ 34 h 348"/>
                  <a:gd name="T34" fmla="*/ 290 w 428"/>
                  <a:gd name="T35" fmla="*/ 36 h 348"/>
                  <a:gd name="T36" fmla="*/ 166 w 428"/>
                  <a:gd name="T37" fmla="*/ 238 h 348"/>
                  <a:gd name="T38" fmla="*/ 178 w 428"/>
                  <a:gd name="T39" fmla="*/ 244 h 348"/>
                  <a:gd name="T40" fmla="*/ 182 w 428"/>
                  <a:gd name="T41" fmla="*/ 230 h 348"/>
                  <a:gd name="T42" fmla="*/ 168 w 428"/>
                  <a:gd name="T43" fmla="*/ 232 h 348"/>
                  <a:gd name="T44" fmla="*/ 128 w 428"/>
                  <a:gd name="T45" fmla="*/ 278 h 348"/>
                  <a:gd name="T46" fmla="*/ 160 w 428"/>
                  <a:gd name="T47" fmla="*/ 268 h 348"/>
                  <a:gd name="T48" fmla="*/ 160 w 428"/>
                  <a:gd name="T49" fmla="*/ 244 h 348"/>
                  <a:gd name="T50" fmla="*/ 126 w 428"/>
                  <a:gd name="T51" fmla="*/ 244 h 348"/>
                  <a:gd name="T52" fmla="*/ 118 w 428"/>
                  <a:gd name="T53" fmla="*/ 266 h 348"/>
                  <a:gd name="T54" fmla="*/ 100 w 428"/>
                  <a:gd name="T55" fmla="*/ 228 h 348"/>
                  <a:gd name="T56" fmla="*/ 152 w 428"/>
                  <a:gd name="T57" fmla="*/ 190 h 348"/>
                  <a:gd name="T58" fmla="*/ 210 w 428"/>
                  <a:gd name="T59" fmla="*/ 200 h 348"/>
                  <a:gd name="T60" fmla="*/ 230 w 428"/>
                  <a:gd name="T61" fmla="*/ 252 h 348"/>
                  <a:gd name="T62" fmla="*/ 188 w 428"/>
                  <a:gd name="T63" fmla="*/ 300 h 348"/>
                  <a:gd name="T64" fmla="*/ 122 w 428"/>
                  <a:gd name="T65" fmla="*/ 298 h 348"/>
                  <a:gd name="T66" fmla="*/ 44 w 428"/>
                  <a:gd name="T67" fmla="*/ 260 h 348"/>
                  <a:gd name="T68" fmla="*/ 102 w 428"/>
                  <a:gd name="T69" fmla="*/ 314 h 348"/>
                  <a:gd name="T70" fmla="*/ 206 w 428"/>
                  <a:gd name="T71" fmla="*/ 320 h 348"/>
                  <a:gd name="T72" fmla="*/ 298 w 428"/>
                  <a:gd name="T73" fmla="*/ 248 h 348"/>
                  <a:gd name="T74" fmla="*/ 292 w 428"/>
                  <a:gd name="T75" fmla="*/ 202 h 348"/>
                  <a:gd name="T76" fmla="*/ 204 w 428"/>
                  <a:gd name="T77" fmla="*/ 154 h 348"/>
                  <a:gd name="T78" fmla="*/ 114 w 428"/>
                  <a:gd name="T79" fmla="*/ 166 h 348"/>
                  <a:gd name="T80" fmla="*/ 56 w 428"/>
                  <a:gd name="T81" fmla="*/ 208 h 348"/>
                  <a:gd name="T82" fmla="*/ 42 w 428"/>
                  <a:gd name="T83" fmla="*/ 252 h 348"/>
                  <a:gd name="T84" fmla="*/ 24 w 428"/>
                  <a:gd name="T85" fmla="*/ 162 h 348"/>
                  <a:gd name="T86" fmla="*/ 124 w 428"/>
                  <a:gd name="T87" fmla="*/ 68 h 348"/>
                  <a:gd name="T88" fmla="*/ 194 w 428"/>
                  <a:gd name="T89" fmla="*/ 52 h 348"/>
                  <a:gd name="T90" fmla="*/ 214 w 428"/>
                  <a:gd name="T91" fmla="*/ 84 h 348"/>
                  <a:gd name="T92" fmla="*/ 210 w 428"/>
                  <a:gd name="T93" fmla="*/ 116 h 348"/>
                  <a:gd name="T94" fmla="*/ 278 w 428"/>
                  <a:gd name="T95" fmla="*/ 100 h 348"/>
                  <a:gd name="T96" fmla="*/ 318 w 428"/>
                  <a:gd name="T97" fmla="*/ 124 h 348"/>
                  <a:gd name="T98" fmla="*/ 314 w 428"/>
                  <a:gd name="T99" fmla="*/ 164 h 348"/>
                  <a:gd name="T100" fmla="*/ 342 w 428"/>
                  <a:gd name="T101" fmla="*/ 176 h 348"/>
                  <a:gd name="T102" fmla="*/ 374 w 428"/>
                  <a:gd name="T103" fmla="*/ 228 h 348"/>
                  <a:gd name="T104" fmla="*/ 352 w 428"/>
                  <a:gd name="T105" fmla="*/ 280 h 348"/>
                  <a:gd name="T106" fmla="*/ 258 w 428"/>
                  <a:gd name="T107" fmla="*/ 338 h 348"/>
                  <a:gd name="T108" fmla="*/ 156 w 428"/>
                  <a:gd name="T109" fmla="*/ 348 h 348"/>
                  <a:gd name="T110" fmla="*/ 40 w 428"/>
                  <a:gd name="T111" fmla="*/ 308 h 348"/>
                  <a:gd name="T112" fmla="*/ 0 w 428"/>
                  <a:gd name="T113" fmla="*/ 23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348">
                    <a:moveTo>
                      <a:pt x="292" y="78"/>
                    </a:moveTo>
                    <a:lnTo>
                      <a:pt x="292" y="78"/>
                    </a:lnTo>
                    <a:lnTo>
                      <a:pt x="292" y="74"/>
                    </a:lnTo>
                    <a:lnTo>
                      <a:pt x="292" y="74"/>
                    </a:lnTo>
                    <a:lnTo>
                      <a:pt x="294" y="66"/>
                    </a:lnTo>
                    <a:lnTo>
                      <a:pt x="294" y="66"/>
                    </a:lnTo>
                    <a:lnTo>
                      <a:pt x="298" y="62"/>
                    </a:lnTo>
                    <a:lnTo>
                      <a:pt x="304" y="60"/>
                    </a:lnTo>
                    <a:lnTo>
                      <a:pt x="304" y="60"/>
                    </a:lnTo>
                    <a:lnTo>
                      <a:pt x="316" y="60"/>
                    </a:lnTo>
                    <a:lnTo>
                      <a:pt x="316" y="60"/>
                    </a:lnTo>
                    <a:lnTo>
                      <a:pt x="328" y="60"/>
                    </a:lnTo>
                    <a:lnTo>
                      <a:pt x="338" y="64"/>
                    </a:lnTo>
                    <a:lnTo>
                      <a:pt x="348" y="70"/>
                    </a:lnTo>
                    <a:lnTo>
                      <a:pt x="356" y="78"/>
                    </a:lnTo>
                    <a:lnTo>
                      <a:pt x="356" y="78"/>
                    </a:lnTo>
                    <a:lnTo>
                      <a:pt x="364" y="90"/>
                    </a:lnTo>
                    <a:lnTo>
                      <a:pt x="370" y="104"/>
                    </a:lnTo>
                    <a:lnTo>
                      <a:pt x="370" y="104"/>
                    </a:lnTo>
                    <a:lnTo>
                      <a:pt x="370" y="116"/>
                    </a:lnTo>
                    <a:lnTo>
                      <a:pt x="370" y="116"/>
                    </a:lnTo>
                    <a:lnTo>
                      <a:pt x="370" y="124"/>
                    </a:lnTo>
                    <a:lnTo>
                      <a:pt x="368" y="132"/>
                    </a:lnTo>
                    <a:lnTo>
                      <a:pt x="368" y="132"/>
                    </a:lnTo>
                    <a:lnTo>
                      <a:pt x="364" y="136"/>
                    </a:lnTo>
                    <a:lnTo>
                      <a:pt x="360" y="140"/>
                    </a:lnTo>
                    <a:lnTo>
                      <a:pt x="360" y="140"/>
                    </a:lnTo>
                    <a:lnTo>
                      <a:pt x="354" y="142"/>
                    </a:lnTo>
                    <a:lnTo>
                      <a:pt x="354" y="142"/>
                    </a:lnTo>
                    <a:lnTo>
                      <a:pt x="350" y="140"/>
                    </a:lnTo>
                    <a:lnTo>
                      <a:pt x="350" y="140"/>
                    </a:lnTo>
                    <a:lnTo>
                      <a:pt x="344" y="138"/>
                    </a:lnTo>
                    <a:lnTo>
                      <a:pt x="342" y="134"/>
                    </a:lnTo>
                    <a:lnTo>
                      <a:pt x="342" y="134"/>
                    </a:lnTo>
                    <a:lnTo>
                      <a:pt x="340" y="128"/>
                    </a:lnTo>
                    <a:lnTo>
                      <a:pt x="340" y="128"/>
                    </a:lnTo>
                    <a:lnTo>
                      <a:pt x="340" y="124"/>
                    </a:lnTo>
                    <a:lnTo>
                      <a:pt x="340" y="124"/>
                    </a:lnTo>
                    <a:lnTo>
                      <a:pt x="342" y="114"/>
                    </a:lnTo>
                    <a:lnTo>
                      <a:pt x="342" y="114"/>
                    </a:lnTo>
                    <a:lnTo>
                      <a:pt x="340" y="104"/>
                    </a:lnTo>
                    <a:lnTo>
                      <a:pt x="334" y="96"/>
                    </a:lnTo>
                    <a:lnTo>
                      <a:pt x="334" y="96"/>
                    </a:lnTo>
                    <a:lnTo>
                      <a:pt x="326" y="90"/>
                    </a:lnTo>
                    <a:lnTo>
                      <a:pt x="316" y="88"/>
                    </a:lnTo>
                    <a:lnTo>
                      <a:pt x="316" y="88"/>
                    </a:lnTo>
                    <a:lnTo>
                      <a:pt x="310" y="88"/>
                    </a:lnTo>
                    <a:lnTo>
                      <a:pt x="310" y="88"/>
                    </a:lnTo>
                    <a:lnTo>
                      <a:pt x="306" y="88"/>
                    </a:lnTo>
                    <a:lnTo>
                      <a:pt x="306" y="88"/>
                    </a:lnTo>
                    <a:lnTo>
                      <a:pt x="302" y="88"/>
                    </a:lnTo>
                    <a:lnTo>
                      <a:pt x="298" y="86"/>
                    </a:lnTo>
                    <a:lnTo>
                      <a:pt x="298" y="86"/>
                    </a:lnTo>
                    <a:lnTo>
                      <a:pt x="294" y="82"/>
                    </a:lnTo>
                    <a:lnTo>
                      <a:pt x="292" y="78"/>
                    </a:lnTo>
                    <a:lnTo>
                      <a:pt x="292" y="78"/>
                    </a:lnTo>
                    <a:close/>
                    <a:moveTo>
                      <a:pt x="278" y="22"/>
                    </a:moveTo>
                    <a:lnTo>
                      <a:pt x="278" y="22"/>
                    </a:lnTo>
                    <a:lnTo>
                      <a:pt x="278" y="20"/>
                    </a:lnTo>
                    <a:lnTo>
                      <a:pt x="278" y="20"/>
                    </a:lnTo>
                    <a:lnTo>
                      <a:pt x="278" y="14"/>
                    </a:lnTo>
                    <a:lnTo>
                      <a:pt x="280" y="10"/>
                    </a:lnTo>
                    <a:lnTo>
                      <a:pt x="280" y="10"/>
                    </a:lnTo>
                    <a:lnTo>
                      <a:pt x="286" y="6"/>
                    </a:lnTo>
                    <a:lnTo>
                      <a:pt x="292" y="4"/>
                    </a:lnTo>
                    <a:lnTo>
                      <a:pt x="292" y="4"/>
                    </a:lnTo>
                    <a:lnTo>
                      <a:pt x="302" y="2"/>
                    </a:lnTo>
                    <a:lnTo>
                      <a:pt x="314" y="0"/>
                    </a:lnTo>
                    <a:lnTo>
                      <a:pt x="314" y="0"/>
                    </a:lnTo>
                    <a:lnTo>
                      <a:pt x="332" y="2"/>
                    </a:lnTo>
                    <a:lnTo>
                      <a:pt x="350" y="6"/>
                    </a:lnTo>
                    <a:lnTo>
                      <a:pt x="350" y="6"/>
                    </a:lnTo>
                    <a:lnTo>
                      <a:pt x="364" y="12"/>
                    </a:lnTo>
                    <a:lnTo>
                      <a:pt x="376" y="18"/>
                    </a:lnTo>
                    <a:lnTo>
                      <a:pt x="388" y="28"/>
                    </a:lnTo>
                    <a:lnTo>
                      <a:pt x="400" y="38"/>
                    </a:lnTo>
                    <a:lnTo>
                      <a:pt x="400" y="38"/>
                    </a:lnTo>
                    <a:lnTo>
                      <a:pt x="408" y="50"/>
                    </a:lnTo>
                    <a:lnTo>
                      <a:pt x="416" y="64"/>
                    </a:lnTo>
                    <a:lnTo>
                      <a:pt x="422" y="78"/>
                    </a:lnTo>
                    <a:lnTo>
                      <a:pt x="426" y="92"/>
                    </a:lnTo>
                    <a:lnTo>
                      <a:pt x="426" y="92"/>
                    </a:lnTo>
                    <a:lnTo>
                      <a:pt x="428" y="116"/>
                    </a:lnTo>
                    <a:lnTo>
                      <a:pt x="428" y="116"/>
                    </a:lnTo>
                    <a:lnTo>
                      <a:pt x="428" y="132"/>
                    </a:lnTo>
                    <a:lnTo>
                      <a:pt x="424" y="150"/>
                    </a:lnTo>
                    <a:lnTo>
                      <a:pt x="424" y="150"/>
                    </a:lnTo>
                    <a:lnTo>
                      <a:pt x="424" y="150"/>
                    </a:lnTo>
                    <a:lnTo>
                      <a:pt x="420" y="156"/>
                    </a:lnTo>
                    <a:lnTo>
                      <a:pt x="416" y="160"/>
                    </a:lnTo>
                    <a:lnTo>
                      <a:pt x="416" y="160"/>
                    </a:lnTo>
                    <a:lnTo>
                      <a:pt x="408" y="160"/>
                    </a:lnTo>
                    <a:lnTo>
                      <a:pt x="408" y="160"/>
                    </a:lnTo>
                    <a:lnTo>
                      <a:pt x="402" y="160"/>
                    </a:lnTo>
                    <a:lnTo>
                      <a:pt x="402" y="160"/>
                    </a:lnTo>
                    <a:lnTo>
                      <a:pt x="396" y="158"/>
                    </a:lnTo>
                    <a:lnTo>
                      <a:pt x="392" y="152"/>
                    </a:lnTo>
                    <a:lnTo>
                      <a:pt x="392" y="152"/>
                    </a:lnTo>
                    <a:lnTo>
                      <a:pt x="392" y="144"/>
                    </a:lnTo>
                    <a:lnTo>
                      <a:pt x="392" y="144"/>
                    </a:lnTo>
                    <a:lnTo>
                      <a:pt x="392" y="140"/>
                    </a:lnTo>
                    <a:lnTo>
                      <a:pt x="392" y="140"/>
                    </a:lnTo>
                    <a:lnTo>
                      <a:pt x="392" y="140"/>
                    </a:lnTo>
                    <a:lnTo>
                      <a:pt x="394" y="128"/>
                    </a:lnTo>
                    <a:lnTo>
                      <a:pt x="396" y="116"/>
                    </a:lnTo>
                    <a:lnTo>
                      <a:pt x="396" y="116"/>
                    </a:lnTo>
                    <a:lnTo>
                      <a:pt x="394" y="98"/>
                    </a:lnTo>
                    <a:lnTo>
                      <a:pt x="394" y="98"/>
                    </a:lnTo>
                    <a:lnTo>
                      <a:pt x="392" y="88"/>
                    </a:lnTo>
                    <a:lnTo>
                      <a:pt x="388" y="78"/>
                    </a:lnTo>
                    <a:lnTo>
                      <a:pt x="382" y="68"/>
                    </a:lnTo>
                    <a:lnTo>
                      <a:pt x="374" y="60"/>
                    </a:lnTo>
                    <a:lnTo>
                      <a:pt x="374" y="60"/>
                    </a:lnTo>
                    <a:lnTo>
                      <a:pt x="368" y="52"/>
                    </a:lnTo>
                    <a:lnTo>
                      <a:pt x="358" y="46"/>
                    </a:lnTo>
                    <a:lnTo>
                      <a:pt x="350" y="42"/>
                    </a:lnTo>
                    <a:lnTo>
                      <a:pt x="340" y="38"/>
                    </a:lnTo>
                    <a:lnTo>
                      <a:pt x="340" y="38"/>
                    </a:lnTo>
                    <a:lnTo>
                      <a:pt x="328" y="34"/>
                    </a:lnTo>
                    <a:lnTo>
                      <a:pt x="316" y="34"/>
                    </a:lnTo>
                    <a:lnTo>
                      <a:pt x="316" y="34"/>
                    </a:lnTo>
                    <a:lnTo>
                      <a:pt x="298" y="36"/>
                    </a:lnTo>
                    <a:lnTo>
                      <a:pt x="298" y="36"/>
                    </a:lnTo>
                    <a:lnTo>
                      <a:pt x="294" y="36"/>
                    </a:lnTo>
                    <a:lnTo>
                      <a:pt x="294" y="36"/>
                    </a:lnTo>
                    <a:lnTo>
                      <a:pt x="290" y="36"/>
                    </a:lnTo>
                    <a:lnTo>
                      <a:pt x="286" y="34"/>
                    </a:lnTo>
                    <a:lnTo>
                      <a:pt x="286" y="34"/>
                    </a:lnTo>
                    <a:lnTo>
                      <a:pt x="280" y="28"/>
                    </a:lnTo>
                    <a:lnTo>
                      <a:pt x="278" y="22"/>
                    </a:lnTo>
                    <a:lnTo>
                      <a:pt x="278" y="22"/>
                    </a:lnTo>
                    <a:close/>
                    <a:moveTo>
                      <a:pt x="166" y="238"/>
                    </a:moveTo>
                    <a:lnTo>
                      <a:pt x="166" y="238"/>
                    </a:lnTo>
                    <a:lnTo>
                      <a:pt x="168" y="242"/>
                    </a:lnTo>
                    <a:lnTo>
                      <a:pt x="172" y="244"/>
                    </a:lnTo>
                    <a:lnTo>
                      <a:pt x="172" y="244"/>
                    </a:lnTo>
                    <a:lnTo>
                      <a:pt x="174" y="244"/>
                    </a:lnTo>
                    <a:lnTo>
                      <a:pt x="174" y="244"/>
                    </a:lnTo>
                    <a:lnTo>
                      <a:pt x="178" y="244"/>
                    </a:lnTo>
                    <a:lnTo>
                      <a:pt x="178" y="244"/>
                    </a:lnTo>
                    <a:lnTo>
                      <a:pt x="182" y="242"/>
                    </a:lnTo>
                    <a:lnTo>
                      <a:pt x="184" y="238"/>
                    </a:lnTo>
                    <a:lnTo>
                      <a:pt x="184" y="238"/>
                    </a:lnTo>
                    <a:lnTo>
                      <a:pt x="184" y="236"/>
                    </a:lnTo>
                    <a:lnTo>
                      <a:pt x="184" y="232"/>
                    </a:lnTo>
                    <a:lnTo>
                      <a:pt x="184" y="232"/>
                    </a:lnTo>
                    <a:lnTo>
                      <a:pt x="182" y="230"/>
                    </a:lnTo>
                    <a:lnTo>
                      <a:pt x="180" y="228"/>
                    </a:lnTo>
                    <a:lnTo>
                      <a:pt x="180" y="228"/>
                    </a:lnTo>
                    <a:lnTo>
                      <a:pt x="174" y="228"/>
                    </a:lnTo>
                    <a:lnTo>
                      <a:pt x="174" y="228"/>
                    </a:lnTo>
                    <a:lnTo>
                      <a:pt x="170" y="230"/>
                    </a:lnTo>
                    <a:lnTo>
                      <a:pt x="168" y="232"/>
                    </a:lnTo>
                    <a:lnTo>
                      <a:pt x="168" y="232"/>
                    </a:lnTo>
                    <a:lnTo>
                      <a:pt x="166" y="236"/>
                    </a:lnTo>
                    <a:lnTo>
                      <a:pt x="166" y="238"/>
                    </a:lnTo>
                    <a:lnTo>
                      <a:pt x="166" y="238"/>
                    </a:lnTo>
                    <a:close/>
                    <a:moveTo>
                      <a:pt x="118" y="266"/>
                    </a:moveTo>
                    <a:lnTo>
                      <a:pt x="118" y="266"/>
                    </a:lnTo>
                    <a:lnTo>
                      <a:pt x="122" y="274"/>
                    </a:lnTo>
                    <a:lnTo>
                      <a:pt x="128" y="278"/>
                    </a:lnTo>
                    <a:lnTo>
                      <a:pt x="128" y="278"/>
                    </a:lnTo>
                    <a:lnTo>
                      <a:pt x="138" y="280"/>
                    </a:lnTo>
                    <a:lnTo>
                      <a:pt x="138" y="280"/>
                    </a:lnTo>
                    <a:lnTo>
                      <a:pt x="146" y="280"/>
                    </a:lnTo>
                    <a:lnTo>
                      <a:pt x="146" y="280"/>
                    </a:lnTo>
                    <a:lnTo>
                      <a:pt x="154" y="274"/>
                    </a:lnTo>
                    <a:lnTo>
                      <a:pt x="160" y="268"/>
                    </a:lnTo>
                    <a:lnTo>
                      <a:pt x="160" y="268"/>
                    </a:lnTo>
                    <a:lnTo>
                      <a:pt x="164" y="262"/>
                    </a:lnTo>
                    <a:lnTo>
                      <a:pt x="164" y="256"/>
                    </a:lnTo>
                    <a:lnTo>
                      <a:pt x="164" y="256"/>
                    </a:lnTo>
                    <a:lnTo>
                      <a:pt x="164" y="252"/>
                    </a:lnTo>
                    <a:lnTo>
                      <a:pt x="164" y="252"/>
                    </a:lnTo>
                    <a:lnTo>
                      <a:pt x="160" y="244"/>
                    </a:lnTo>
                    <a:lnTo>
                      <a:pt x="152" y="240"/>
                    </a:lnTo>
                    <a:lnTo>
                      <a:pt x="152" y="240"/>
                    </a:lnTo>
                    <a:lnTo>
                      <a:pt x="144" y="238"/>
                    </a:lnTo>
                    <a:lnTo>
                      <a:pt x="144" y="238"/>
                    </a:lnTo>
                    <a:lnTo>
                      <a:pt x="136" y="240"/>
                    </a:lnTo>
                    <a:lnTo>
                      <a:pt x="136" y="240"/>
                    </a:lnTo>
                    <a:lnTo>
                      <a:pt x="126" y="244"/>
                    </a:lnTo>
                    <a:lnTo>
                      <a:pt x="120" y="250"/>
                    </a:lnTo>
                    <a:lnTo>
                      <a:pt x="120" y="250"/>
                    </a:lnTo>
                    <a:lnTo>
                      <a:pt x="118" y="256"/>
                    </a:lnTo>
                    <a:lnTo>
                      <a:pt x="118" y="262"/>
                    </a:lnTo>
                    <a:lnTo>
                      <a:pt x="118" y="262"/>
                    </a:lnTo>
                    <a:lnTo>
                      <a:pt x="118" y="266"/>
                    </a:lnTo>
                    <a:lnTo>
                      <a:pt x="118" y="266"/>
                    </a:lnTo>
                    <a:close/>
                    <a:moveTo>
                      <a:pt x="98" y="274"/>
                    </a:moveTo>
                    <a:lnTo>
                      <a:pt x="98" y="274"/>
                    </a:lnTo>
                    <a:lnTo>
                      <a:pt x="94" y="262"/>
                    </a:lnTo>
                    <a:lnTo>
                      <a:pt x="94" y="252"/>
                    </a:lnTo>
                    <a:lnTo>
                      <a:pt x="94" y="252"/>
                    </a:lnTo>
                    <a:lnTo>
                      <a:pt x="96" y="240"/>
                    </a:lnTo>
                    <a:lnTo>
                      <a:pt x="100" y="228"/>
                    </a:lnTo>
                    <a:lnTo>
                      <a:pt x="100" y="228"/>
                    </a:lnTo>
                    <a:lnTo>
                      <a:pt x="106" y="218"/>
                    </a:lnTo>
                    <a:lnTo>
                      <a:pt x="114" y="208"/>
                    </a:lnTo>
                    <a:lnTo>
                      <a:pt x="124" y="200"/>
                    </a:lnTo>
                    <a:lnTo>
                      <a:pt x="136" y="194"/>
                    </a:lnTo>
                    <a:lnTo>
                      <a:pt x="136" y="194"/>
                    </a:lnTo>
                    <a:lnTo>
                      <a:pt x="152" y="190"/>
                    </a:lnTo>
                    <a:lnTo>
                      <a:pt x="168" y="188"/>
                    </a:lnTo>
                    <a:lnTo>
                      <a:pt x="168" y="188"/>
                    </a:lnTo>
                    <a:lnTo>
                      <a:pt x="178" y="188"/>
                    </a:lnTo>
                    <a:lnTo>
                      <a:pt x="186" y="190"/>
                    </a:lnTo>
                    <a:lnTo>
                      <a:pt x="186" y="190"/>
                    </a:lnTo>
                    <a:lnTo>
                      <a:pt x="198" y="194"/>
                    </a:lnTo>
                    <a:lnTo>
                      <a:pt x="210" y="200"/>
                    </a:lnTo>
                    <a:lnTo>
                      <a:pt x="218" y="208"/>
                    </a:lnTo>
                    <a:lnTo>
                      <a:pt x="224" y="218"/>
                    </a:lnTo>
                    <a:lnTo>
                      <a:pt x="224" y="218"/>
                    </a:lnTo>
                    <a:lnTo>
                      <a:pt x="228" y="230"/>
                    </a:lnTo>
                    <a:lnTo>
                      <a:pt x="230" y="242"/>
                    </a:lnTo>
                    <a:lnTo>
                      <a:pt x="230" y="242"/>
                    </a:lnTo>
                    <a:lnTo>
                      <a:pt x="230" y="252"/>
                    </a:lnTo>
                    <a:lnTo>
                      <a:pt x="226" y="264"/>
                    </a:lnTo>
                    <a:lnTo>
                      <a:pt x="226" y="264"/>
                    </a:lnTo>
                    <a:lnTo>
                      <a:pt x="218" y="276"/>
                    </a:lnTo>
                    <a:lnTo>
                      <a:pt x="210" y="286"/>
                    </a:lnTo>
                    <a:lnTo>
                      <a:pt x="200" y="294"/>
                    </a:lnTo>
                    <a:lnTo>
                      <a:pt x="188" y="300"/>
                    </a:lnTo>
                    <a:lnTo>
                      <a:pt x="188" y="300"/>
                    </a:lnTo>
                    <a:lnTo>
                      <a:pt x="172" y="306"/>
                    </a:lnTo>
                    <a:lnTo>
                      <a:pt x="156" y="308"/>
                    </a:lnTo>
                    <a:lnTo>
                      <a:pt x="156" y="308"/>
                    </a:lnTo>
                    <a:lnTo>
                      <a:pt x="144" y="306"/>
                    </a:lnTo>
                    <a:lnTo>
                      <a:pt x="134" y="304"/>
                    </a:lnTo>
                    <a:lnTo>
                      <a:pt x="134" y="304"/>
                    </a:lnTo>
                    <a:lnTo>
                      <a:pt x="122" y="298"/>
                    </a:lnTo>
                    <a:lnTo>
                      <a:pt x="112" y="292"/>
                    </a:lnTo>
                    <a:lnTo>
                      <a:pt x="104" y="284"/>
                    </a:lnTo>
                    <a:lnTo>
                      <a:pt x="98" y="274"/>
                    </a:lnTo>
                    <a:lnTo>
                      <a:pt x="98" y="274"/>
                    </a:lnTo>
                    <a:close/>
                    <a:moveTo>
                      <a:pt x="42" y="252"/>
                    </a:moveTo>
                    <a:lnTo>
                      <a:pt x="42" y="252"/>
                    </a:lnTo>
                    <a:lnTo>
                      <a:pt x="44" y="260"/>
                    </a:lnTo>
                    <a:lnTo>
                      <a:pt x="46" y="268"/>
                    </a:lnTo>
                    <a:lnTo>
                      <a:pt x="50" y="276"/>
                    </a:lnTo>
                    <a:lnTo>
                      <a:pt x="56" y="284"/>
                    </a:lnTo>
                    <a:lnTo>
                      <a:pt x="68" y="296"/>
                    </a:lnTo>
                    <a:lnTo>
                      <a:pt x="86" y="308"/>
                    </a:lnTo>
                    <a:lnTo>
                      <a:pt x="86" y="308"/>
                    </a:lnTo>
                    <a:lnTo>
                      <a:pt x="102" y="314"/>
                    </a:lnTo>
                    <a:lnTo>
                      <a:pt x="120" y="320"/>
                    </a:lnTo>
                    <a:lnTo>
                      <a:pt x="138" y="324"/>
                    </a:lnTo>
                    <a:lnTo>
                      <a:pt x="158" y="324"/>
                    </a:lnTo>
                    <a:lnTo>
                      <a:pt x="158" y="324"/>
                    </a:lnTo>
                    <a:lnTo>
                      <a:pt x="180" y="324"/>
                    </a:lnTo>
                    <a:lnTo>
                      <a:pt x="180" y="324"/>
                    </a:lnTo>
                    <a:lnTo>
                      <a:pt x="206" y="320"/>
                    </a:lnTo>
                    <a:lnTo>
                      <a:pt x="228" y="312"/>
                    </a:lnTo>
                    <a:lnTo>
                      <a:pt x="250" y="302"/>
                    </a:lnTo>
                    <a:lnTo>
                      <a:pt x="268" y="290"/>
                    </a:lnTo>
                    <a:lnTo>
                      <a:pt x="268" y="290"/>
                    </a:lnTo>
                    <a:lnTo>
                      <a:pt x="282" y="276"/>
                    </a:lnTo>
                    <a:lnTo>
                      <a:pt x="292" y="262"/>
                    </a:lnTo>
                    <a:lnTo>
                      <a:pt x="298" y="248"/>
                    </a:lnTo>
                    <a:lnTo>
                      <a:pt x="300" y="232"/>
                    </a:lnTo>
                    <a:lnTo>
                      <a:pt x="300" y="232"/>
                    </a:lnTo>
                    <a:lnTo>
                      <a:pt x="300" y="226"/>
                    </a:lnTo>
                    <a:lnTo>
                      <a:pt x="300" y="226"/>
                    </a:lnTo>
                    <a:lnTo>
                      <a:pt x="298" y="218"/>
                    </a:lnTo>
                    <a:lnTo>
                      <a:pt x="296" y="210"/>
                    </a:lnTo>
                    <a:lnTo>
                      <a:pt x="292" y="202"/>
                    </a:lnTo>
                    <a:lnTo>
                      <a:pt x="288" y="194"/>
                    </a:lnTo>
                    <a:lnTo>
                      <a:pt x="274" y="182"/>
                    </a:lnTo>
                    <a:lnTo>
                      <a:pt x="256" y="170"/>
                    </a:lnTo>
                    <a:lnTo>
                      <a:pt x="256" y="170"/>
                    </a:lnTo>
                    <a:lnTo>
                      <a:pt x="240" y="162"/>
                    </a:lnTo>
                    <a:lnTo>
                      <a:pt x="222" y="158"/>
                    </a:lnTo>
                    <a:lnTo>
                      <a:pt x="204" y="154"/>
                    </a:lnTo>
                    <a:lnTo>
                      <a:pt x="184" y="154"/>
                    </a:lnTo>
                    <a:lnTo>
                      <a:pt x="184" y="154"/>
                    </a:lnTo>
                    <a:lnTo>
                      <a:pt x="162" y="154"/>
                    </a:lnTo>
                    <a:lnTo>
                      <a:pt x="162" y="154"/>
                    </a:lnTo>
                    <a:lnTo>
                      <a:pt x="146" y="156"/>
                    </a:lnTo>
                    <a:lnTo>
                      <a:pt x="130" y="160"/>
                    </a:lnTo>
                    <a:lnTo>
                      <a:pt x="114" y="166"/>
                    </a:lnTo>
                    <a:lnTo>
                      <a:pt x="100" y="172"/>
                    </a:lnTo>
                    <a:lnTo>
                      <a:pt x="100" y="172"/>
                    </a:lnTo>
                    <a:lnTo>
                      <a:pt x="86" y="180"/>
                    </a:lnTo>
                    <a:lnTo>
                      <a:pt x="74" y="188"/>
                    </a:lnTo>
                    <a:lnTo>
                      <a:pt x="64" y="198"/>
                    </a:lnTo>
                    <a:lnTo>
                      <a:pt x="56" y="208"/>
                    </a:lnTo>
                    <a:lnTo>
                      <a:pt x="56" y="208"/>
                    </a:lnTo>
                    <a:lnTo>
                      <a:pt x="50" y="216"/>
                    </a:lnTo>
                    <a:lnTo>
                      <a:pt x="46" y="226"/>
                    </a:lnTo>
                    <a:lnTo>
                      <a:pt x="44" y="236"/>
                    </a:lnTo>
                    <a:lnTo>
                      <a:pt x="42" y="246"/>
                    </a:lnTo>
                    <a:lnTo>
                      <a:pt x="42" y="246"/>
                    </a:lnTo>
                    <a:lnTo>
                      <a:pt x="42" y="252"/>
                    </a:lnTo>
                    <a:lnTo>
                      <a:pt x="42" y="252"/>
                    </a:lnTo>
                    <a:close/>
                    <a:moveTo>
                      <a:pt x="0" y="234"/>
                    </a:moveTo>
                    <a:lnTo>
                      <a:pt x="0" y="234"/>
                    </a:lnTo>
                    <a:lnTo>
                      <a:pt x="0" y="220"/>
                    </a:lnTo>
                    <a:lnTo>
                      <a:pt x="4" y="206"/>
                    </a:lnTo>
                    <a:lnTo>
                      <a:pt x="8" y="192"/>
                    </a:lnTo>
                    <a:lnTo>
                      <a:pt x="16" y="176"/>
                    </a:lnTo>
                    <a:lnTo>
                      <a:pt x="24" y="162"/>
                    </a:lnTo>
                    <a:lnTo>
                      <a:pt x="36" y="146"/>
                    </a:lnTo>
                    <a:lnTo>
                      <a:pt x="48" y="130"/>
                    </a:lnTo>
                    <a:lnTo>
                      <a:pt x="64" y="114"/>
                    </a:lnTo>
                    <a:lnTo>
                      <a:pt x="64" y="114"/>
                    </a:lnTo>
                    <a:lnTo>
                      <a:pt x="84" y="96"/>
                    </a:lnTo>
                    <a:lnTo>
                      <a:pt x="104" y="80"/>
                    </a:lnTo>
                    <a:lnTo>
                      <a:pt x="124" y="68"/>
                    </a:lnTo>
                    <a:lnTo>
                      <a:pt x="146" y="58"/>
                    </a:lnTo>
                    <a:lnTo>
                      <a:pt x="146" y="58"/>
                    </a:lnTo>
                    <a:lnTo>
                      <a:pt x="164" y="52"/>
                    </a:lnTo>
                    <a:lnTo>
                      <a:pt x="178" y="50"/>
                    </a:lnTo>
                    <a:lnTo>
                      <a:pt x="178" y="50"/>
                    </a:lnTo>
                    <a:lnTo>
                      <a:pt x="186" y="50"/>
                    </a:lnTo>
                    <a:lnTo>
                      <a:pt x="194" y="52"/>
                    </a:lnTo>
                    <a:lnTo>
                      <a:pt x="198" y="54"/>
                    </a:lnTo>
                    <a:lnTo>
                      <a:pt x="204" y="60"/>
                    </a:lnTo>
                    <a:lnTo>
                      <a:pt x="204" y="60"/>
                    </a:lnTo>
                    <a:lnTo>
                      <a:pt x="208" y="64"/>
                    </a:lnTo>
                    <a:lnTo>
                      <a:pt x="210" y="70"/>
                    </a:lnTo>
                    <a:lnTo>
                      <a:pt x="212" y="76"/>
                    </a:lnTo>
                    <a:lnTo>
                      <a:pt x="214" y="84"/>
                    </a:lnTo>
                    <a:lnTo>
                      <a:pt x="214" y="84"/>
                    </a:lnTo>
                    <a:lnTo>
                      <a:pt x="212" y="96"/>
                    </a:lnTo>
                    <a:lnTo>
                      <a:pt x="208" y="110"/>
                    </a:lnTo>
                    <a:lnTo>
                      <a:pt x="208" y="110"/>
                    </a:lnTo>
                    <a:lnTo>
                      <a:pt x="208" y="114"/>
                    </a:lnTo>
                    <a:lnTo>
                      <a:pt x="210" y="116"/>
                    </a:lnTo>
                    <a:lnTo>
                      <a:pt x="210" y="116"/>
                    </a:lnTo>
                    <a:lnTo>
                      <a:pt x="216" y="116"/>
                    </a:lnTo>
                    <a:lnTo>
                      <a:pt x="218" y="114"/>
                    </a:lnTo>
                    <a:lnTo>
                      <a:pt x="218" y="114"/>
                    </a:lnTo>
                    <a:lnTo>
                      <a:pt x="236" y="108"/>
                    </a:lnTo>
                    <a:lnTo>
                      <a:pt x="250" y="104"/>
                    </a:lnTo>
                    <a:lnTo>
                      <a:pt x="264" y="100"/>
                    </a:lnTo>
                    <a:lnTo>
                      <a:pt x="278" y="100"/>
                    </a:lnTo>
                    <a:lnTo>
                      <a:pt x="278" y="100"/>
                    </a:lnTo>
                    <a:lnTo>
                      <a:pt x="290" y="102"/>
                    </a:lnTo>
                    <a:lnTo>
                      <a:pt x="300" y="104"/>
                    </a:lnTo>
                    <a:lnTo>
                      <a:pt x="308" y="108"/>
                    </a:lnTo>
                    <a:lnTo>
                      <a:pt x="316" y="114"/>
                    </a:lnTo>
                    <a:lnTo>
                      <a:pt x="316" y="114"/>
                    </a:lnTo>
                    <a:lnTo>
                      <a:pt x="318" y="124"/>
                    </a:lnTo>
                    <a:lnTo>
                      <a:pt x="320" y="132"/>
                    </a:lnTo>
                    <a:lnTo>
                      <a:pt x="320" y="132"/>
                    </a:lnTo>
                    <a:lnTo>
                      <a:pt x="318" y="144"/>
                    </a:lnTo>
                    <a:lnTo>
                      <a:pt x="314" y="158"/>
                    </a:lnTo>
                    <a:lnTo>
                      <a:pt x="314" y="158"/>
                    </a:lnTo>
                    <a:lnTo>
                      <a:pt x="314" y="160"/>
                    </a:lnTo>
                    <a:lnTo>
                      <a:pt x="314" y="164"/>
                    </a:lnTo>
                    <a:lnTo>
                      <a:pt x="314" y="164"/>
                    </a:lnTo>
                    <a:lnTo>
                      <a:pt x="316" y="166"/>
                    </a:lnTo>
                    <a:lnTo>
                      <a:pt x="316" y="166"/>
                    </a:lnTo>
                    <a:lnTo>
                      <a:pt x="322" y="168"/>
                    </a:lnTo>
                    <a:lnTo>
                      <a:pt x="322" y="168"/>
                    </a:lnTo>
                    <a:lnTo>
                      <a:pt x="332" y="172"/>
                    </a:lnTo>
                    <a:lnTo>
                      <a:pt x="342" y="176"/>
                    </a:lnTo>
                    <a:lnTo>
                      <a:pt x="350" y="182"/>
                    </a:lnTo>
                    <a:lnTo>
                      <a:pt x="358" y="190"/>
                    </a:lnTo>
                    <a:lnTo>
                      <a:pt x="358" y="190"/>
                    </a:lnTo>
                    <a:lnTo>
                      <a:pt x="366" y="198"/>
                    </a:lnTo>
                    <a:lnTo>
                      <a:pt x="370" y="206"/>
                    </a:lnTo>
                    <a:lnTo>
                      <a:pt x="372" y="216"/>
                    </a:lnTo>
                    <a:lnTo>
                      <a:pt x="374" y="228"/>
                    </a:lnTo>
                    <a:lnTo>
                      <a:pt x="374" y="228"/>
                    </a:lnTo>
                    <a:lnTo>
                      <a:pt x="372" y="238"/>
                    </a:lnTo>
                    <a:lnTo>
                      <a:pt x="370" y="248"/>
                    </a:lnTo>
                    <a:lnTo>
                      <a:pt x="366" y="258"/>
                    </a:lnTo>
                    <a:lnTo>
                      <a:pt x="360" y="270"/>
                    </a:lnTo>
                    <a:lnTo>
                      <a:pt x="360" y="270"/>
                    </a:lnTo>
                    <a:lnTo>
                      <a:pt x="352" y="280"/>
                    </a:lnTo>
                    <a:lnTo>
                      <a:pt x="342" y="290"/>
                    </a:lnTo>
                    <a:lnTo>
                      <a:pt x="320" y="308"/>
                    </a:lnTo>
                    <a:lnTo>
                      <a:pt x="320" y="308"/>
                    </a:lnTo>
                    <a:lnTo>
                      <a:pt x="308" y="316"/>
                    </a:lnTo>
                    <a:lnTo>
                      <a:pt x="292" y="324"/>
                    </a:lnTo>
                    <a:lnTo>
                      <a:pt x="276" y="332"/>
                    </a:lnTo>
                    <a:lnTo>
                      <a:pt x="258" y="338"/>
                    </a:lnTo>
                    <a:lnTo>
                      <a:pt x="258" y="338"/>
                    </a:lnTo>
                    <a:lnTo>
                      <a:pt x="240" y="342"/>
                    </a:lnTo>
                    <a:lnTo>
                      <a:pt x="220" y="346"/>
                    </a:lnTo>
                    <a:lnTo>
                      <a:pt x="200" y="348"/>
                    </a:lnTo>
                    <a:lnTo>
                      <a:pt x="180" y="348"/>
                    </a:lnTo>
                    <a:lnTo>
                      <a:pt x="180" y="348"/>
                    </a:lnTo>
                    <a:lnTo>
                      <a:pt x="156" y="348"/>
                    </a:lnTo>
                    <a:lnTo>
                      <a:pt x="134" y="346"/>
                    </a:lnTo>
                    <a:lnTo>
                      <a:pt x="114" y="342"/>
                    </a:lnTo>
                    <a:lnTo>
                      <a:pt x="94" y="336"/>
                    </a:lnTo>
                    <a:lnTo>
                      <a:pt x="94" y="336"/>
                    </a:lnTo>
                    <a:lnTo>
                      <a:pt x="74" y="328"/>
                    </a:lnTo>
                    <a:lnTo>
                      <a:pt x="56" y="318"/>
                    </a:lnTo>
                    <a:lnTo>
                      <a:pt x="40" y="308"/>
                    </a:lnTo>
                    <a:lnTo>
                      <a:pt x="26" y="296"/>
                    </a:lnTo>
                    <a:lnTo>
                      <a:pt x="26" y="296"/>
                    </a:lnTo>
                    <a:lnTo>
                      <a:pt x="14" y="282"/>
                    </a:lnTo>
                    <a:lnTo>
                      <a:pt x="6" y="266"/>
                    </a:lnTo>
                    <a:lnTo>
                      <a:pt x="0" y="252"/>
                    </a:lnTo>
                    <a:lnTo>
                      <a:pt x="0" y="234"/>
                    </a:lnTo>
                    <a:lnTo>
                      <a:pt x="0" y="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5" name="Group 4">
              <a:extLst>
                <a:ext uri="{FF2B5EF4-FFF2-40B4-BE49-F238E27FC236}">
                  <a16:creationId xmlns:a16="http://schemas.microsoft.com/office/drawing/2014/main" id="{BFA8B7A4-6EF9-510E-AF1E-324C97254274}"/>
                </a:ext>
              </a:extLst>
            </p:cNvPr>
            <p:cNvGrpSpPr/>
            <p:nvPr/>
          </p:nvGrpSpPr>
          <p:grpSpPr>
            <a:xfrm>
              <a:off x="1650482" y="5206304"/>
              <a:ext cx="390295" cy="390295"/>
              <a:chOff x="6127750" y="2970213"/>
              <a:chExt cx="914400" cy="914400"/>
            </a:xfrm>
          </p:grpSpPr>
          <p:sp>
            <p:nvSpPr>
              <p:cNvPr id="24" name="Freeform 35">
                <a:extLst>
                  <a:ext uri="{FF2B5EF4-FFF2-40B4-BE49-F238E27FC236}">
                    <a16:creationId xmlns:a16="http://schemas.microsoft.com/office/drawing/2014/main" id="{BEF56342-0DB8-47EB-32FF-50E45CDEB55F}"/>
                  </a:ext>
                </a:extLst>
              </p:cNvPr>
              <p:cNvSpPr>
                <a:spLocks/>
              </p:cNvSpPr>
              <p:nvPr/>
            </p:nvSpPr>
            <p:spPr bwMode="auto">
              <a:xfrm>
                <a:off x="6127750"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2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2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2" y="20"/>
                    </a:lnTo>
                    <a:lnTo>
                      <a:pt x="2" y="26"/>
                    </a:lnTo>
                    <a:lnTo>
                      <a:pt x="0" y="32"/>
                    </a:lnTo>
                    <a:lnTo>
                      <a:pt x="0" y="544"/>
                    </a:lnTo>
                    <a:lnTo>
                      <a:pt x="0" y="544"/>
                    </a:lnTo>
                    <a:lnTo>
                      <a:pt x="2" y="552"/>
                    </a:lnTo>
                    <a:lnTo>
                      <a:pt x="2" y="558"/>
                    </a:lnTo>
                    <a:lnTo>
                      <a:pt x="10" y="568"/>
                    </a:lnTo>
                    <a:lnTo>
                      <a:pt x="20" y="574"/>
                    </a:lnTo>
                    <a:lnTo>
                      <a:pt x="26" y="576"/>
                    </a:lnTo>
                    <a:lnTo>
                      <a:pt x="32" y="576"/>
                    </a:lnTo>
                    <a:lnTo>
                      <a:pt x="544" y="576"/>
                    </a:lnTo>
                    <a:lnTo>
                      <a:pt x="544" y="576"/>
                    </a:lnTo>
                    <a:close/>
                  </a:path>
                </a:pathLst>
              </a:custGeom>
              <a:solidFill>
                <a:srgbClr val="7BB3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33" name="Freeform 36">
                <a:extLst>
                  <a:ext uri="{FF2B5EF4-FFF2-40B4-BE49-F238E27FC236}">
                    <a16:creationId xmlns:a16="http://schemas.microsoft.com/office/drawing/2014/main" id="{19A5F103-1710-9F05-D912-6EF7062A9F93}"/>
                  </a:ext>
                </a:extLst>
              </p:cNvPr>
              <p:cNvSpPr>
                <a:spLocks noEditPoints="1"/>
              </p:cNvSpPr>
              <p:nvPr/>
            </p:nvSpPr>
            <p:spPr bwMode="auto">
              <a:xfrm>
                <a:off x="6188075" y="3087688"/>
                <a:ext cx="787400" cy="679450"/>
              </a:xfrm>
              <a:custGeom>
                <a:avLst/>
                <a:gdLst>
                  <a:gd name="T0" fmla="*/ 418 w 496"/>
                  <a:gd name="T1" fmla="*/ 414 h 428"/>
                  <a:gd name="T2" fmla="*/ 384 w 496"/>
                  <a:gd name="T3" fmla="*/ 414 h 428"/>
                  <a:gd name="T4" fmla="*/ 346 w 496"/>
                  <a:gd name="T5" fmla="*/ 420 h 428"/>
                  <a:gd name="T6" fmla="*/ 284 w 496"/>
                  <a:gd name="T7" fmla="*/ 408 h 428"/>
                  <a:gd name="T8" fmla="*/ 244 w 496"/>
                  <a:gd name="T9" fmla="*/ 380 h 428"/>
                  <a:gd name="T10" fmla="*/ 210 w 496"/>
                  <a:gd name="T11" fmla="*/ 332 h 428"/>
                  <a:gd name="T12" fmla="*/ 202 w 496"/>
                  <a:gd name="T13" fmla="*/ 278 h 428"/>
                  <a:gd name="T14" fmla="*/ 220 w 496"/>
                  <a:gd name="T15" fmla="*/ 226 h 428"/>
                  <a:gd name="T16" fmla="*/ 262 w 496"/>
                  <a:gd name="T17" fmla="*/ 182 h 428"/>
                  <a:gd name="T18" fmla="*/ 302 w 496"/>
                  <a:gd name="T19" fmla="*/ 164 h 428"/>
                  <a:gd name="T20" fmla="*/ 360 w 496"/>
                  <a:gd name="T21" fmla="*/ 158 h 428"/>
                  <a:gd name="T22" fmla="*/ 414 w 496"/>
                  <a:gd name="T23" fmla="*/ 172 h 428"/>
                  <a:gd name="T24" fmla="*/ 460 w 496"/>
                  <a:gd name="T25" fmla="*/ 204 h 428"/>
                  <a:gd name="T26" fmla="*/ 492 w 496"/>
                  <a:gd name="T27" fmla="*/ 256 h 428"/>
                  <a:gd name="T28" fmla="*/ 484 w 496"/>
                  <a:gd name="T29" fmla="*/ 342 h 428"/>
                  <a:gd name="T30" fmla="*/ 448 w 496"/>
                  <a:gd name="T31" fmla="*/ 388 h 428"/>
                  <a:gd name="T32" fmla="*/ 446 w 496"/>
                  <a:gd name="T33" fmla="*/ 418 h 428"/>
                  <a:gd name="T34" fmla="*/ 282 w 496"/>
                  <a:gd name="T35" fmla="*/ 268 h 428"/>
                  <a:gd name="T36" fmla="*/ 298 w 496"/>
                  <a:gd name="T37" fmla="*/ 258 h 428"/>
                  <a:gd name="T38" fmla="*/ 296 w 496"/>
                  <a:gd name="T39" fmla="*/ 238 h 428"/>
                  <a:gd name="T40" fmla="*/ 276 w 496"/>
                  <a:gd name="T41" fmla="*/ 234 h 428"/>
                  <a:gd name="T42" fmla="*/ 266 w 496"/>
                  <a:gd name="T43" fmla="*/ 250 h 428"/>
                  <a:gd name="T44" fmla="*/ 282 w 496"/>
                  <a:gd name="T45" fmla="*/ 268 h 428"/>
                  <a:gd name="T46" fmla="*/ 384 w 496"/>
                  <a:gd name="T47" fmla="*/ 234 h 428"/>
                  <a:gd name="T48" fmla="*/ 372 w 496"/>
                  <a:gd name="T49" fmla="*/ 250 h 428"/>
                  <a:gd name="T50" fmla="*/ 390 w 496"/>
                  <a:gd name="T51" fmla="*/ 268 h 428"/>
                  <a:gd name="T52" fmla="*/ 406 w 496"/>
                  <a:gd name="T53" fmla="*/ 258 h 428"/>
                  <a:gd name="T54" fmla="*/ 402 w 496"/>
                  <a:gd name="T55" fmla="*/ 238 h 428"/>
                  <a:gd name="T56" fmla="*/ 244 w 496"/>
                  <a:gd name="T57" fmla="*/ 100 h 428"/>
                  <a:gd name="T58" fmla="*/ 224 w 496"/>
                  <a:gd name="T59" fmla="*/ 114 h 428"/>
                  <a:gd name="T60" fmla="*/ 230 w 496"/>
                  <a:gd name="T61" fmla="*/ 136 h 428"/>
                  <a:gd name="T62" fmla="*/ 252 w 496"/>
                  <a:gd name="T63" fmla="*/ 140 h 428"/>
                  <a:gd name="T64" fmla="*/ 264 w 496"/>
                  <a:gd name="T65" fmla="*/ 122 h 428"/>
                  <a:gd name="T66" fmla="*/ 244 w 496"/>
                  <a:gd name="T67" fmla="*/ 100 h 428"/>
                  <a:gd name="T68" fmla="*/ 132 w 496"/>
                  <a:gd name="T69" fmla="*/ 114 h 428"/>
                  <a:gd name="T70" fmla="*/ 112 w 496"/>
                  <a:gd name="T71" fmla="*/ 100 h 428"/>
                  <a:gd name="T72" fmla="*/ 90 w 496"/>
                  <a:gd name="T73" fmla="*/ 120 h 428"/>
                  <a:gd name="T74" fmla="*/ 102 w 496"/>
                  <a:gd name="T75" fmla="*/ 140 h 428"/>
                  <a:gd name="T76" fmla="*/ 126 w 496"/>
                  <a:gd name="T77" fmla="*/ 136 h 428"/>
                  <a:gd name="T78" fmla="*/ 346 w 496"/>
                  <a:gd name="T79" fmla="*/ 140 h 428"/>
                  <a:gd name="T80" fmla="*/ 296 w 496"/>
                  <a:gd name="T81" fmla="*/ 148 h 428"/>
                  <a:gd name="T82" fmla="*/ 240 w 496"/>
                  <a:gd name="T83" fmla="*/ 178 h 428"/>
                  <a:gd name="T84" fmla="*/ 206 w 496"/>
                  <a:gd name="T85" fmla="*/ 214 h 428"/>
                  <a:gd name="T86" fmla="*/ 184 w 496"/>
                  <a:gd name="T87" fmla="*/ 274 h 428"/>
                  <a:gd name="T88" fmla="*/ 132 w 496"/>
                  <a:gd name="T89" fmla="*/ 302 h 428"/>
                  <a:gd name="T90" fmla="*/ 114 w 496"/>
                  <a:gd name="T91" fmla="*/ 306 h 428"/>
                  <a:gd name="T92" fmla="*/ 74 w 496"/>
                  <a:gd name="T93" fmla="*/ 294 h 428"/>
                  <a:gd name="T94" fmla="*/ 72 w 496"/>
                  <a:gd name="T95" fmla="*/ 278 h 428"/>
                  <a:gd name="T96" fmla="*/ 32 w 496"/>
                  <a:gd name="T97" fmla="*/ 242 h 428"/>
                  <a:gd name="T98" fmla="*/ 0 w 496"/>
                  <a:gd name="T99" fmla="*/ 160 h 428"/>
                  <a:gd name="T100" fmla="*/ 12 w 496"/>
                  <a:gd name="T101" fmla="*/ 96 h 428"/>
                  <a:gd name="T102" fmla="*/ 62 w 496"/>
                  <a:gd name="T103" fmla="*/ 36 h 428"/>
                  <a:gd name="T104" fmla="*/ 116 w 496"/>
                  <a:gd name="T105" fmla="*/ 8 h 428"/>
                  <a:gd name="T106" fmla="*/ 226 w 496"/>
                  <a:gd name="T107" fmla="*/ 8 h 428"/>
                  <a:gd name="T108" fmla="*/ 316 w 496"/>
                  <a:gd name="T109" fmla="*/ 68 h 428"/>
                  <a:gd name="T110" fmla="*/ 342 w 496"/>
                  <a:gd name="T111" fmla="*/ 1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28">
                    <a:moveTo>
                      <a:pt x="450" y="428"/>
                    </a:moveTo>
                    <a:lnTo>
                      <a:pt x="450" y="428"/>
                    </a:lnTo>
                    <a:lnTo>
                      <a:pt x="428" y="418"/>
                    </a:lnTo>
                    <a:lnTo>
                      <a:pt x="418" y="414"/>
                    </a:lnTo>
                    <a:lnTo>
                      <a:pt x="406" y="410"/>
                    </a:lnTo>
                    <a:lnTo>
                      <a:pt x="406" y="410"/>
                    </a:lnTo>
                    <a:lnTo>
                      <a:pt x="396" y="412"/>
                    </a:lnTo>
                    <a:lnTo>
                      <a:pt x="384" y="414"/>
                    </a:lnTo>
                    <a:lnTo>
                      <a:pt x="374" y="418"/>
                    </a:lnTo>
                    <a:lnTo>
                      <a:pt x="362" y="420"/>
                    </a:lnTo>
                    <a:lnTo>
                      <a:pt x="362" y="420"/>
                    </a:lnTo>
                    <a:lnTo>
                      <a:pt x="346" y="420"/>
                    </a:lnTo>
                    <a:lnTo>
                      <a:pt x="330" y="420"/>
                    </a:lnTo>
                    <a:lnTo>
                      <a:pt x="314" y="418"/>
                    </a:lnTo>
                    <a:lnTo>
                      <a:pt x="298" y="414"/>
                    </a:lnTo>
                    <a:lnTo>
                      <a:pt x="284" y="408"/>
                    </a:lnTo>
                    <a:lnTo>
                      <a:pt x="270" y="400"/>
                    </a:lnTo>
                    <a:lnTo>
                      <a:pt x="256" y="390"/>
                    </a:lnTo>
                    <a:lnTo>
                      <a:pt x="244" y="380"/>
                    </a:lnTo>
                    <a:lnTo>
                      <a:pt x="244" y="380"/>
                    </a:lnTo>
                    <a:lnTo>
                      <a:pt x="232" y="368"/>
                    </a:lnTo>
                    <a:lnTo>
                      <a:pt x="222" y="356"/>
                    </a:lnTo>
                    <a:lnTo>
                      <a:pt x="216" y="344"/>
                    </a:lnTo>
                    <a:lnTo>
                      <a:pt x="210" y="332"/>
                    </a:lnTo>
                    <a:lnTo>
                      <a:pt x="204" y="318"/>
                    </a:lnTo>
                    <a:lnTo>
                      <a:pt x="202" y="304"/>
                    </a:lnTo>
                    <a:lnTo>
                      <a:pt x="200" y="292"/>
                    </a:lnTo>
                    <a:lnTo>
                      <a:pt x="202" y="278"/>
                    </a:lnTo>
                    <a:lnTo>
                      <a:pt x="204" y="264"/>
                    </a:lnTo>
                    <a:lnTo>
                      <a:pt x="208" y="250"/>
                    </a:lnTo>
                    <a:lnTo>
                      <a:pt x="212" y="238"/>
                    </a:lnTo>
                    <a:lnTo>
                      <a:pt x="220" y="226"/>
                    </a:lnTo>
                    <a:lnTo>
                      <a:pt x="228" y="214"/>
                    </a:lnTo>
                    <a:lnTo>
                      <a:pt x="238" y="202"/>
                    </a:lnTo>
                    <a:lnTo>
                      <a:pt x="250" y="192"/>
                    </a:lnTo>
                    <a:lnTo>
                      <a:pt x="262" y="182"/>
                    </a:lnTo>
                    <a:lnTo>
                      <a:pt x="262" y="182"/>
                    </a:lnTo>
                    <a:lnTo>
                      <a:pt x="276" y="176"/>
                    </a:lnTo>
                    <a:lnTo>
                      <a:pt x="288" y="170"/>
                    </a:lnTo>
                    <a:lnTo>
                      <a:pt x="302" y="164"/>
                    </a:lnTo>
                    <a:lnTo>
                      <a:pt x="316" y="162"/>
                    </a:lnTo>
                    <a:lnTo>
                      <a:pt x="330" y="158"/>
                    </a:lnTo>
                    <a:lnTo>
                      <a:pt x="344" y="158"/>
                    </a:lnTo>
                    <a:lnTo>
                      <a:pt x="360" y="158"/>
                    </a:lnTo>
                    <a:lnTo>
                      <a:pt x="374" y="160"/>
                    </a:lnTo>
                    <a:lnTo>
                      <a:pt x="388" y="162"/>
                    </a:lnTo>
                    <a:lnTo>
                      <a:pt x="402" y="166"/>
                    </a:lnTo>
                    <a:lnTo>
                      <a:pt x="414" y="172"/>
                    </a:lnTo>
                    <a:lnTo>
                      <a:pt x="428" y="178"/>
                    </a:lnTo>
                    <a:lnTo>
                      <a:pt x="440" y="186"/>
                    </a:lnTo>
                    <a:lnTo>
                      <a:pt x="450" y="194"/>
                    </a:lnTo>
                    <a:lnTo>
                      <a:pt x="460" y="204"/>
                    </a:lnTo>
                    <a:lnTo>
                      <a:pt x="470" y="214"/>
                    </a:lnTo>
                    <a:lnTo>
                      <a:pt x="470" y="214"/>
                    </a:lnTo>
                    <a:lnTo>
                      <a:pt x="484" y="234"/>
                    </a:lnTo>
                    <a:lnTo>
                      <a:pt x="492" y="256"/>
                    </a:lnTo>
                    <a:lnTo>
                      <a:pt x="496" y="278"/>
                    </a:lnTo>
                    <a:lnTo>
                      <a:pt x="496" y="300"/>
                    </a:lnTo>
                    <a:lnTo>
                      <a:pt x="494" y="320"/>
                    </a:lnTo>
                    <a:lnTo>
                      <a:pt x="484" y="342"/>
                    </a:lnTo>
                    <a:lnTo>
                      <a:pt x="472" y="360"/>
                    </a:lnTo>
                    <a:lnTo>
                      <a:pt x="456" y="378"/>
                    </a:lnTo>
                    <a:lnTo>
                      <a:pt x="456" y="378"/>
                    </a:lnTo>
                    <a:lnTo>
                      <a:pt x="448" y="388"/>
                    </a:lnTo>
                    <a:lnTo>
                      <a:pt x="442" y="396"/>
                    </a:lnTo>
                    <a:lnTo>
                      <a:pt x="442" y="406"/>
                    </a:lnTo>
                    <a:lnTo>
                      <a:pt x="446" y="418"/>
                    </a:lnTo>
                    <a:lnTo>
                      <a:pt x="446" y="418"/>
                    </a:lnTo>
                    <a:lnTo>
                      <a:pt x="448" y="422"/>
                    </a:lnTo>
                    <a:lnTo>
                      <a:pt x="450" y="428"/>
                    </a:lnTo>
                    <a:lnTo>
                      <a:pt x="450" y="428"/>
                    </a:lnTo>
                    <a:close/>
                    <a:moveTo>
                      <a:pt x="282" y="268"/>
                    </a:moveTo>
                    <a:lnTo>
                      <a:pt x="282" y="268"/>
                    </a:lnTo>
                    <a:lnTo>
                      <a:pt x="290" y="266"/>
                    </a:lnTo>
                    <a:lnTo>
                      <a:pt x="294" y="262"/>
                    </a:lnTo>
                    <a:lnTo>
                      <a:pt x="298" y="258"/>
                    </a:lnTo>
                    <a:lnTo>
                      <a:pt x="300" y="252"/>
                    </a:lnTo>
                    <a:lnTo>
                      <a:pt x="300" y="252"/>
                    </a:lnTo>
                    <a:lnTo>
                      <a:pt x="298" y="244"/>
                    </a:lnTo>
                    <a:lnTo>
                      <a:pt x="296" y="238"/>
                    </a:lnTo>
                    <a:lnTo>
                      <a:pt x="290" y="234"/>
                    </a:lnTo>
                    <a:lnTo>
                      <a:pt x="282" y="234"/>
                    </a:lnTo>
                    <a:lnTo>
                      <a:pt x="282" y="234"/>
                    </a:lnTo>
                    <a:lnTo>
                      <a:pt x="276" y="234"/>
                    </a:lnTo>
                    <a:lnTo>
                      <a:pt x="270" y="238"/>
                    </a:lnTo>
                    <a:lnTo>
                      <a:pt x="266" y="244"/>
                    </a:lnTo>
                    <a:lnTo>
                      <a:pt x="266" y="250"/>
                    </a:lnTo>
                    <a:lnTo>
                      <a:pt x="266" y="250"/>
                    </a:lnTo>
                    <a:lnTo>
                      <a:pt x="266" y="258"/>
                    </a:lnTo>
                    <a:lnTo>
                      <a:pt x="270" y="262"/>
                    </a:lnTo>
                    <a:lnTo>
                      <a:pt x="276" y="266"/>
                    </a:lnTo>
                    <a:lnTo>
                      <a:pt x="282" y="268"/>
                    </a:lnTo>
                    <a:lnTo>
                      <a:pt x="282" y="268"/>
                    </a:lnTo>
                    <a:close/>
                    <a:moveTo>
                      <a:pt x="390" y="234"/>
                    </a:moveTo>
                    <a:lnTo>
                      <a:pt x="390" y="234"/>
                    </a:lnTo>
                    <a:lnTo>
                      <a:pt x="384" y="234"/>
                    </a:lnTo>
                    <a:lnTo>
                      <a:pt x="378" y="238"/>
                    </a:lnTo>
                    <a:lnTo>
                      <a:pt x="374" y="244"/>
                    </a:lnTo>
                    <a:lnTo>
                      <a:pt x="372" y="250"/>
                    </a:lnTo>
                    <a:lnTo>
                      <a:pt x="372" y="250"/>
                    </a:lnTo>
                    <a:lnTo>
                      <a:pt x="374" y="256"/>
                    </a:lnTo>
                    <a:lnTo>
                      <a:pt x="378" y="262"/>
                    </a:lnTo>
                    <a:lnTo>
                      <a:pt x="382" y="266"/>
                    </a:lnTo>
                    <a:lnTo>
                      <a:pt x="390" y="268"/>
                    </a:lnTo>
                    <a:lnTo>
                      <a:pt x="390" y="268"/>
                    </a:lnTo>
                    <a:lnTo>
                      <a:pt x="396" y="266"/>
                    </a:lnTo>
                    <a:lnTo>
                      <a:pt x="402" y="262"/>
                    </a:lnTo>
                    <a:lnTo>
                      <a:pt x="406" y="258"/>
                    </a:lnTo>
                    <a:lnTo>
                      <a:pt x="406" y="252"/>
                    </a:lnTo>
                    <a:lnTo>
                      <a:pt x="406" y="252"/>
                    </a:lnTo>
                    <a:lnTo>
                      <a:pt x="406" y="244"/>
                    </a:lnTo>
                    <a:lnTo>
                      <a:pt x="402" y="238"/>
                    </a:lnTo>
                    <a:lnTo>
                      <a:pt x="396" y="234"/>
                    </a:lnTo>
                    <a:lnTo>
                      <a:pt x="390" y="234"/>
                    </a:lnTo>
                    <a:lnTo>
                      <a:pt x="390" y="234"/>
                    </a:lnTo>
                    <a:close/>
                    <a:moveTo>
                      <a:pt x="244" y="100"/>
                    </a:moveTo>
                    <a:lnTo>
                      <a:pt x="244" y="100"/>
                    </a:lnTo>
                    <a:lnTo>
                      <a:pt x="236" y="102"/>
                    </a:lnTo>
                    <a:lnTo>
                      <a:pt x="228" y="108"/>
                    </a:lnTo>
                    <a:lnTo>
                      <a:pt x="224" y="114"/>
                    </a:lnTo>
                    <a:lnTo>
                      <a:pt x="222" y="122"/>
                    </a:lnTo>
                    <a:lnTo>
                      <a:pt x="222" y="122"/>
                    </a:lnTo>
                    <a:lnTo>
                      <a:pt x="224" y="130"/>
                    </a:lnTo>
                    <a:lnTo>
                      <a:pt x="230" y="136"/>
                    </a:lnTo>
                    <a:lnTo>
                      <a:pt x="236" y="140"/>
                    </a:lnTo>
                    <a:lnTo>
                      <a:pt x="244" y="142"/>
                    </a:lnTo>
                    <a:lnTo>
                      <a:pt x="244" y="142"/>
                    </a:lnTo>
                    <a:lnTo>
                      <a:pt x="252" y="140"/>
                    </a:lnTo>
                    <a:lnTo>
                      <a:pt x="258" y="136"/>
                    </a:lnTo>
                    <a:lnTo>
                      <a:pt x="264" y="130"/>
                    </a:lnTo>
                    <a:lnTo>
                      <a:pt x="264" y="122"/>
                    </a:lnTo>
                    <a:lnTo>
                      <a:pt x="264" y="122"/>
                    </a:lnTo>
                    <a:lnTo>
                      <a:pt x="264" y="114"/>
                    </a:lnTo>
                    <a:lnTo>
                      <a:pt x="258" y="106"/>
                    </a:lnTo>
                    <a:lnTo>
                      <a:pt x="252" y="102"/>
                    </a:lnTo>
                    <a:lnTo>
                      <a:pt x="244" y="100"/>
                    </a:lnTo>
                    <a:lnTo>
                      <a:pt x="244" y="100"/>
                    </a:lnTo>
                    <a:close/>
                    <a:moveTo>
                      <a:pt x="132" y="122"/>
                    </a:moveTo>
                    <a:lnTo>
                      <a:pt x="132" y="122"/>
                    </a:lnTo>
                    <a:lnTo>
                      <a:pt x="132" y="114"/>
                    </a:lnTo>
                    <a:lnTo>
                      <a:pt x="128" y="108"/>
                    </a:lnTo>
                    <a:lnTo>
                      <a:pt x="120" y="102"/>
                    </a:lnTo>
                    <a:lnTo>
                      <a:pt x="112" y="100"/>
                    </a:lnTo>
                    <a:lnTo>
                      <a:pt x="112" y="100"/>
                    </a:lnTo>
                    <a:lnTo>
                      <a:pt x="104" y="102"/>
                    </a:lnTo>
                    <a:lnTo>
                      <a:pt x="98" y="106"/>
                    </a:lnTo>
                    <a:lnTo>
                      <a:pt x="92" y="112"/>
                    </a:lnTo>
                    <a:lnTo>
                      <a:pt x="90" y="120"/>
                    </a:lnTo>
                    <a:lnTo>
                      <a:pt x="90" y="120"/>
                    </a:lnTo>
                    <a:lnTo>
                      <a:pt x="92" y="128"/>
                    </a:lnTo>
                    <a:lnTo>
                      <a:pt x="96" y="136"/>
                    </a:lnTo>
                    <a:lnTo>
                      <a:pt x="102" y="140"/>
                    </a:lnTo>
                    <a:lnTo>
                      <a:pt x="112" y="142"/>
                    </a:lnTo>
                    <a:lnTo>
                      <a:pt x="112" y="142"/>
                    </a:lnTo>
                    <a:lnTo>
                      <a:pt x="120" y="140"/>
                    </a:lnTo>
                    <a:lnTo>
                      <a:pt x="126" y="136"/>
                    </a:lnTo>
                    <a:lnTo>
                      <a:pt x="130" y="130"/>
                    </a:lnTo>
                    <a:lnTo>
                      <a:pt x="132" y="122"/>
                    </a:lnTo>
                    <a:lnTo>
                      <a:pt x="132" y="122"/>
                    </a:lnTo>
                    <a:close/>
                    <a:moveTo>
                      <a:pt x="346" y="140"/>
                    </a:moveTo>
                    <a:lnTo>
                      <a:pt x="346" y="140"/>
                    </a:lnTo>
                    <a:lnTo>
                      <a:pt x="328" y="142"/>
                    </a:lnTo>
                    <a:lnTo>
                      <a:pt x="312" y="144"/>
                    </a:lnTo>
                    <a:lnTo>
                      <a:pt x="296" y="148"/>
                    </a:lnTo>
                    <a:lnTo>
                      <a:pt x="280" y="154"/>
                    </a:lnTo>
                    <a:lnTo>
                      <a:pt x="266" y="160"/>
                    </a:lnTo>
                    <a:lnTo>
                      <a:pt x="252" y="168"/>
                    </a:lnTo>
                    <a:lnTo>
                      <a:pt x="240" y="178"/>
                    </a:lnTo>
                    <a:lnTo>
                      <a:pt x="226" y="188"/>
                    </a:lnTo>
                    <a:lnTo>
                      <a:pt x="226" y="188"/>
                    </a:lnTo>
                    <a:lnTo>
                      <a:pt x="214" y="202"/>
                    </a:lnTo>
                    <a:lnTo>
                      <a:pt x="206" y="214"/>
                    </a:lnTo>
                    <a:lnTo>
                      <a:pt x="196" y="228"/>
                    </a:lnTo>
                    <a:lnTo>
                      <a:pt x="190" y="242"/>
                    </a:lnTo>
                    <a:lnTo>
                      <a:pt x="186" y="258"/>
                    </a:lnTo>
                    <a:lnTo>
                      <a:pt x="184" y="274"/>
                    </a:lnTo>
                    <a:lnTo>
                      <a:pt x="182" y="290"/>
                    </a:lnTo>
                    <a:lnTo>
                      <a:pt x="182" y="308"/>
                    </a:lnTo>
                    <a:lnTo>
                      <a:pt x="182" y="308"/>
                    </a:lnTo>
                    <a:lnTo>
                      <a:pt x="132" y="302"/>
                    </a:lnTo>
                    <a:lnTo>
                      <a:pt x="132" y="302"/>
                    </a:lnTo>
                    <a:lnTo>
                      <a:pt x="122" y="302"/>
                    </a:lnTo>
                    <a:lnTo>
                      <a:pt x="114" y="306"/>
                    </a:lnTo>
                    <a:lnTo>
                      <a:pt x="114" y="306"/>
                    </a:lnTo>
                    <a:lnTo>
                      <a:pt x="64" y="336"/>
                    </a:lnTo>
                    <a:lnTo>
                      <a:pt x="64" y="336"/>
                    </a:lnTo>
                    <a:lnTo>
                      <a:pt x="70" y="314"/>
                    </a:lnTo>
                    <a:lnTo>
                      <a:pt x="74" y="294"/>
                    </a:lnTo>
                    <a:lnTo>
                      <a:pt x="74" y="294"/>
                    </a:lnTo>
                    <a:lnTo>
                      <a:pt x="76" y="288"/>
                    </a:lnTo>
                    <a:lnTo>
                      <a:pt x="74" y="284"/>
                    </a:lnTo>
                    <a:lnTo>
                      <a:pt x="72" y="278"/>
                    </a:lnTo>
                    <a:lnTo>
                      <a:pt x="66" y="274"/>
                    </a:lnTo>
                    <a:lnTo>
                      <a:pt x="66" y="274"/>
                    </a:lnTo>
                    <a:lnTo>
                      <a:pt x="48" y="258"/>
                    </a:lnTo>
                    <a:lnTo>
                      <a:pt x="32" y="242"/>
                    </a:lnTo>
                    <a:lnTo>
                      <a:pt x="18" y="222"/>
                    </a:lnTo>
                    <a:lnTo>
                      <a:pt x="8" y="204"/>
                    </a:lnTo>
                    <a:lnTo>
                      <a:pt x="2" y="182"/>
                    </a:lnTo>
                    <a:lnTo>
                      <a:pt x="0" y="160"/>
                    </a:lnTo>
                    <a:lnTo>
                      <a:pt x="0" y="138"/>
                    </a:lnTo>
                    <a:lnTo>
                      <a:pt x="6" y="116"/>
                    </a:lnTo>
                    <a:lnTo>
                      <a:pt x="6" y="116"/>
                    </a:lnTo>
                    <a:lnTo>
                      <a:pt x="12" y="96"/>
                    </a:lnTo>
                    <a:lnTo>
                      <a:pt x="22" y="78"/>
                    </a:lnTo>
                    <a:lnTo>
                      <a:pt x="34" y="62"/>
                    </a:lnTo>
                    <a:lnTo>
                      <a:pt x="46" y="48"/>
                    </a:lnTo>
                    <a:lnTo>
                      <a:pt x="62" y="36"/>
                    </a:lnTo>
                    <a:lnTo>
                      <a:pt x="78" y="26"/>
                    </a:lnTo>
                    <a:lnTo>
                      <a:pt x="96" y="16"/>
                    </a:lnTo>
                    <a:lnTo>
                      <a:pt x="116" y="8"/>
                    </a:lnTo>
                    <a:lnTo>
                      <a:pt x="116" y="8"/>
                    </a:lnTo>
                    <a:lnTo>
                      <a:pt x="144" y="2"/>
                    </a:lnTo>
                    <a:lnTo>
                      <a:pt x="172" y="0"/>
                    </a:lnTo>
                    <a:lnTo>
                      <a:pt x="200" y="2"/>
                    </a:lnTo>
                    <a:lnTo>
                      <a:pt x="226" y="8"/>
                    </a:lnTo>
                    <a:lnTo>
                      <a:pt x="252" y="18"/>
                    </a:lnTo>
                    <a:lnTo>
                      <a:pt x="276" y="30"/>
                    </a:lnTo>
                    <a:lnTo>
                      <a:pt x="298" y="48"/>
                    </a:lnTo>
                    <a:lnTo>
                      <a:pt x="316" y="68"/>
                    </a:lnTo>
                    <a:lnTo>
                      <a:pt x="316" y="68"/>
                    </a:lnTo>
                    <a:lnTo>
                      <a:pt x="328" y="84"/>
                    </a:lnTo>
                    <a:lnTo>
                      <a:pt x="336" y="102"/>
                    </a:lnTo>
                    <a:lnTo>
                      <a:pt x="342" y="120"/>
                    </a:lnTo>
                    <a:lnTo>
                      <a:pt x="346" y="140"/>
                    </a:lnTo>
                    <a:lnTo>
                      <a:pt x="34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6" name="Group 5">
              <a:extLst>
                <a:ext uri="{FF2B5EF4-FFF2-40B4-BE49-F238E27FC236}">
                  <a16:creationId xmlns:a16="http://schemas.microsoft.com/office/drawing/2014/main" id="{07BE69AE-A100-F2D5-6EA5-C0BA1271CAFA}"/>
                </a:ext>
              </a:extLst>
            </p:cNvPr>
            <p:cNvGrpSpPr/>
            <p:nvPr/>
          </p:nvGrpSpPr>
          <p:grpSpPr>
            <a:xfrm>
              <a:off x="1223597" y="5206304"/>
              <a:ext cx="390295" cy="390295"/>
              <a:chOff x="5127625" y="2970213"/>
              <a:chExt cx="914400" cy="914400"/>
            </a:xfrm>
          </p:grpSpPr>
          <p:sp>
            <p:nvSpPr>
              <p:cNvPr id="14" name="Freeform 31">
                <a:extLst>
                  <a:ext uri="{FF2B5EF4-FFF2-40B4-BE49-F238E27FC236}">
                    <a16:creationId xmlns:a16="http://schemas.microsoft.com/office/drawing/2014/main" id="{1A23AE39-FB9C-0002-37AE-4B2BB2C1014C}"/>
                  </a:ext>
                </a:extLst>
              </p:cNvPr>
              <p:cNvSpPr>
                <a:spLocks/>
              </p:cNvSpPr>
              <p:nvPr/>
            </p:nvSpPr>
            <p:spPr bwMode="auto">
              <a:xfrm>
                <a:off x="5127625"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30 w 576"/>
                  <a:gd name="T25" fmla="*/ 576 h 576"/>
                  <a:gd name="T26" fmla="*/ 22 w 576"/>
                  <a:gd name="T27" fmla="*/ 574 h 576"/>
                  <a:gd name="T28" fmla="*/ 16 w 576"/>
                  <a:gd name="T29" fmla="*/ 570 h 576"/>
                  <a:gd name="T30" fmla="*/ 10 w 576"/>
                  <a:gd name="T31" fmla="*/ 566 h 576"/>
                  <a:gd name="T32" fmla="*/ 6 w 576"/>
                  <a:gd name="T33" fmla="*/ 560 h 576"/>
                  <a:gd name="T34" fmla="*/ 4 w 576"/>
                  <a:gd name="T35" fmla="*/ 554 h 576"/>
                  <a:gd name="T36" fmla="*/ 2 w 576"/>
                  <a:gd name="T37" fmla="*/ 548 h 576"/>
                  <a:gd name="T38" fmla="*/ 0 w 576"/>
                  <a:gd name="T39" fmla="*/ 540 h 576"/>
                  <a:gd name="T40" fmla="*/ 0 w 576"/>
                  <a:gd name="T41" fmla="*/ 36 h 576"/>
                  <a:gd name="T42" fmla="*/ 0 w 576"/>
                  <a:gd name="T43" fmla="*/ 36 h 576"/>
                  <a:gd name="T44" fmla="*/ 2 w 576"/>
                  <a:gd name="T45" fmla="*/ 30 h 576"/>
                  <a:gd name="T46" fmla="*/ 4 w 576"/>
                  <a:gd name="T47" fmla="*/ 22 h 576"/>
                  <a:gd name="T48" fmla="*/ 6 w 576"/>
                  <a:gd name="T49" fmla="*/ 16 h 576"/>
                  <a:gd name="T50" fmla="*/ 10 w 576"/>
                  <a:gd name="T51" fmla="*/ 12 h 576"/>
                  <a:gd name="T52" fmla="*/ 16 w 576"/>
                  <a:gd name="T53" fmla="*/ 6 h 576"/>
                  <a:gd name="T54" fmla="*/ 22 w 576"/>
                  <a:gd name="T55" fmla="*/ 4 h 576"/>
                  <a:gd name="T56" fmla="*/ 30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30" y="576"/>
                    </a:lnTo>
                    <a:lnTo>
                      <a:pt x="22" y="574"/>
                    </a:lnTo>
                    <a:lnTo>
                      <a:pt x="16" y="570"/>
                    </a:lnTo>
                    <a:lnTo>
                      <a:pt x="10" y="566"/>
                    </a:lnTo>
                    <a:lnTo>
                      <a:pt x="6" y="560"/>
                    </a:lnTo>
                    <a:lnTo>
                      <a:pt x="4" y="554"/>
                    </a:lnTo>
                    <a:lnTo>
                      <a:pt x="2" y="548"/>
                    </a:lnTo>
                    <a:lnTo>
                      <a:pt x="0" y="540"/>
                    </a:lnTo>
                    <a:lnTo>
                      <a:pt x="0" y="36"/>
                    </a:lnTo>
                    <a:lnTo>
                      <a:pt x="0" y="36"/>
                    </a:lnTo>
                    <a:lnTo>
                      <a:pt x="2" y="30"/>
                    </a:lnTo>
                    <a:lnTo>
                      <a:pt x="4" y="22"/>
                    </a:lnTo>
                    <a:lnTo>
                      <a:pt x="6" y="16"/>
                    </a:lnTo>
                    <a:lnTo>
                      <a:pt x="10" y="12"/>
                    </a:lnTo>
                    <a:lnTo>
                      <a:pt x="16" y="6"/>
                    </a:lnTo>
                    <a:lnTo>
                      <a:pt x="22" y="4"/>
                    </a:lnTo>
                    <a:lnTo>
                      <a:pt x="30"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F52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5" name="Freeform 32">
                <a:extLst>
                  <a:ext uri="{FF2B5EF4-FFF2-40B4-BE49-F238E27FC236}">
                    <a16:creationId xmlns:a16="http://schemas.microsoft.com/office/drawing/2014/main" id="{7169DEF7-AFD0-31FB-AFDD-14F830301DBE}"/>
                  </a:ext>
                </a:extLst>
              </p:cNvPr>
              <p:cNvSpPr>
                <a:spLocks/>
              </p:cNvSpPr>
              <p:nvPr/>
            </p:nvSpPr>
            <p:spPr bwMode="auto">
              <a:xfrm>
                <a:off x="5499100" y="3113088"/>
                <a:ext cx="400050" cy="771525"/>
              </a:xfrm>
              <a:custGeom>
                <a:avLst/>
                <a:gdLst>
                  <a:gd name="T0" fmla="*/ 162 w 252"/>
                  <a:gd name="T1" fmla="*/ 486 h 486"/>
                  <a:gd name="T2" fmla="*/ 162 w 252"/>
                  <a:gd name="T3" fmla="*/ 270 h 486"/>
                  <a:gd name="T4" fmla="*/ 234 w 252"/>
                  <a:gd name="T5" fmla="*/ 270 h 486"/>
                  <a:gd name="T6" fmla="*/ 252 w 252"/>
                  <a:gd name="T7" fmla="*/ 180 h 486"/>
                  <a:gd name="T8" fmla="*/ 162 w 252"/>
                  <a:gd name="T9" fmla="*/ 180 h 486"/>
                  <a:gd name="T10" fmla="*/ 162 w 252"/>
                  <a:gd name="T11" fmla="*/ 144 h 486"/>
                  <a:gd name="T12" fmla="*/ 162 w 252"/>
                  <a:gd name="T13" fmla="*/ 144 h 486"/>
                  <a:gd name="T14" fmla="*/ 164 w 252"/>
                  <a:gd name="T15" fmla="*/ 132 h 486"/>
                  <a:gd name="T16" fmla="*/ 166 w 252"/>
                  <a:gd name="T17" fmla="*/ 122 h 486"/>
                  <a:gd name="T18" fmla="*/ 170 w 252"/>
                  <a:gd name="T19" fmla="*/ 112 h 486"/>
                  <a:gd name="T20" fmla="*/ 176 w 252"/>
                  <a:gd name="T21" fmla="*/ 104 h 486"/>
                  <a:gd name="T22" fmla="*/ 184 w 252"/>
                  <a:gd name="T23" fmla="*/ 98 h 486"/>
                  <a:gd name="T24" fmla="*/ 192 w 252"/>
                  <a:gd name="T25" fmla="*/ 94 h 486"/>
                  <a:gd name="T26" fmla="*/ 204 w 252"/>
                  <a:gd name="T27" fmla="*/ 92 h 486"/>
                  <a:gd name="T28" fmla="*/ 216 w 252"/>
                  <a:gd name="T29" fmla="*/ 90 h 486"/>
                  <a:gd name="T30" fmla="*/ 252 w 252"/>
                  <a:gd name="T31" fmla="*/ 90 h 486"/>
                  <a:gd name="T32" fmla="*/ 252 w 252"/>
                  <a:gd name="T33" fmla="*/ 0 h 486"/>
                  <a:gd name="T34" fmla="*/ 252 w 252"/>
                  <a:gd name="T35" fmla="*/ 0 h 486"/>
                  <a:gd name="T36" fmla="*/ 180 w 252"/>
                  <a:gd name="T37" fmla="*/ 0 h 486"/>
                  <a:gd name="T38" fmla="*/ 180 w 252"/>
                  <a:gd name="T39" fmla="*/ 0 h 486"/>
                  <a:gd name="T40" fmla="*/ 168 w 252"/>
                  <a:gd name="T41" fmla="*/ 2 h 486"/>
                  <a:gd name="T42" fmla="*/ 156 w 252"/>
                  <a:gd name="T43" fmla="*/ 4 h 486"/>
                  <a:gd name="T44" fmla="*/ 146 w 252"/>
                  <a:gd name="T45" fmla="*/ 6 h 486"/>
                  <a:gd name="T46" fmla="*/ 136 w 252"/>
                  <a:gd name="T47" fmla="*/ 10 h 486"/>
                  <a:gd name="T48" fmla="*/ 126 w 252"/>
                  <a:gd name="T49" fmla="*/ 16 h 486"/>
                  <a:gd name="T50" fmla="*/ 118 w 252"/>
                  <a:gd name="T51" fmla="*/ 22 h 486"/>
                  <a:gd name="T52" fmla="*/ 102 w 252"/>
                  <a:gd name="T53" fmla="*/ 36 h 486"/>
                  <a:gd name="T54" fmla="*/ 90 w 252"/>
                  <a:gd name="T55" fmla="*/ 54 h 486"/>
                  <a:gd name="T56" fmla="*/ 80 w 252"/>
                  <a:gd name="T57" fmla="*/ 76 h 486"/>
                  <a:gd name="T58" fmla="*/ 74 w 252"/>
                  <a:gd name="T59" fmla="*/ 100 h 486"/>
                  <a:gd name="T60" fmla="*/ 72 w 252"/>
                  <a:gd name="T61" fmla="*/ 126 h 486"/>
                  <a:gd name="T62" fmla="*/ 72 w 252"/>
                  <a:gd name="T63" fmla="*/ 180 h 486"/>
                  <a:gd name="T64" fmla="*/ 0 w 252"/>
                  <a:gd name="T65" fmla="*/ 180 h 486"/>
                  <a:gd name="T66" fmla="*/ 0 w 252"/>
                  <a:gd name="T67" fmla="*/ 270 h 486"/>
                  <a:gd name="T68" fmla="*/ 72 w 252"/>
                  <a:gd name="T69" fmla="*/ 270 h 486"/>
                  <a:gd name="T70" fmla="*/ 72 w 252"/>
                  <a:gd name="T71" fmla="*/ 486 h 486"/>
                  <a:gd name="T72" fmla="*/ 162 w 252"/>
                  <a:gd name="T73" fmla="*/ 486 h 486"/>
                  <a:gd name="T74" fmla="*/ 162 w 252"/>
                  <a:gd name="T75"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486">
                    <a:moveTo>
                      <a:pt x="162" y="486"/>
                    </a:moveTo>
                    <a:lnTo>
                      <a:pt x="162" y="270"/>
                    </a:lnTo>
                    <a:lnTo>
                      <a:pt x="234" y="270"/>
                    </a:lnTo>
                    <a:lnTo>
                      <a:pt x="252" y="180"/>
                    </a:lnTo>
                    <a:lnTo>
                      <a:pt x="162" y="180"/>
                    </a:lnTo>
                    <a:lnTo>
                      <a:pt x="162" y="144"/>
                    </a:lnTo>
                    <a:lnTo>
                      <a:pt x="162" y="144"/>
                    </a:lnTo>
                    <a:lnTo>
                      <a:pt x="164" y="132"/>
                    </a:lnTo>
                    <a:lnTo>
                      <a:pt x="166" y="122"/>
                    </a:lnTo>
                    <a:lnTo>
                      <a:pt x="170" y="112"/>
                    </a:lnTo>
                    <a:lnTo>
                      <a:pt x="176" y="104"/>
                    </a:lnTo>
                    <a:lnTo>
                      <a:pt x="184" y="98"/>
                    </a:lnTo>
                    <a:lnTo>
                      <a:pt x="192" y="94"/>
                    </a:lnTo>
                    <a:lnTo>
                      <a:pt x="204" y="92"/>
                    </a:lnTo>
                    <a:lnTo>
                      <a:pt x="216" y="90"/>
                    </a:lnTo>
                    <a:lnTo>
                      <a:pt x="252" y="90"/>
                    </a:lnTo>
                    <a:lnTo>
                      <a:pt x="252" y="0"/>
                    </a:lnTo>
                    <a:lnTo>
                      <a:pt x="252" y="0"/>
                    </a:lnTo>
                    <a:lnTo>
                      <a:pt x="180" y="0"/>
                    </a:lnTo>
                    <a:lnTo>
                      <a:pt x="180" y="0"/>
                    </a:lnTo>
                    <a:lnTo>
                      <a:pt x="168" y="2"/>
                    </a:lnTo>
                    <a:lnTo>
                      <a:pt x="156" y="4"/>
                    </a:lnTo>
                    <a:lnTo>
                      <a:pt x="146" y="6"/>
                    </a:lnTo>
                    <a:lnTo>
                      <a:pt x="136" y="10"/>
                    </a:lnTo>
                    <a:lnTo>
                      <a:pt x="126" y="16"/>
                    </a:lnTo>
                    <a:lnTo>
                      <a:pt x="118" y="22"/>
                    </a:lnTo>
                    <a:lnTo>
                      <a:pt x="102" y="36"/>
                    </a:lnTo>
                    <a:lnTo>
                      <a:pt x="90" y="54"/>
                    </a:lnTo>
                    <a:lnTo>
                      <a:pt x="80" y="76"/>
                    </a:lnTo>
                    <a:lnTo>
                      <a:pt x="74" y="100"/>
                    </a:lnTo>
                    <a:lnTo>
                      <a:pt x="72" y="126"/>
                    </a:lnTo>
                    <a:lnTo>
                      <a:pt x="72" y="180"/>
                    </a:lnTo>
                    <a:lnTo>
                      <a:pt x="0" y="180"/>
                    </a:lnTo>
                    <a:lnTo>
                      <a:pt x="0" y="270"/>
                    </a:lnTo>
                    <a:lnTo>
                      <a:pt x="72" y="270"/>
                    </a:lnTo>
                    <a:lnTo>
                      <a:pt x="72" y="486"/>
                    </a:lnTo>
                    <a:lnTo>
                      <a:pt x="162" y="486"/>
                    </a:lnTo>
                    <a:lnTo>
                      <a:pt x="162" y="4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grpSp>
          <p:nvGrpSpPr>
            <p:cNvPr id="7" name="Group 6">
              <a:extLst>
                <a:ext uri="{FF2B5EF4-FFF2-40B4-BE49-F238E27FC236}">
                  <a16:creationId xmlns:a16="http://schemas.microsoft.com/office/drawing/2014/main" id="{666FAE02-A73D-3A41-9621-D9DC7AFC1A3F}"/>
                </a:ext>
              </a:extLst>
            </p:cNvPr>
            <p:cNvGrpSpPr/>
            <p:nvPr/>
          </p:nvGrpSpPr>
          <p:grpSpPr>
            <a:xfrm>
              <a:off x="369827" y="5206304"/>
              <a:ext cx="390295" cy="390295"/>
              <a:chOff x="3127375" y="2970213"/>
              <a:chExt cx="914400" cy="914400"/>
            </a:xfrm>
          </p:grpSpPr>
          <p:sp>
            <p:nvSpPr>
              <p:cNvPr id="9" name="Freeform 26">
                <a:extLst>
                  <a:ext uri="{FF2B5EF4-FFF2-40B4-BE49-F238E27FC236}">
                    <a16:creationId xmlns:a16="http://schemas.microsoft.com/office/drawing/2014/main" id="{6729CA73-FBBE-44F1-1769-E0B5EE7DDF8A}"/>
                  </a:ext>
                </a:extLst>
              </p:cNvPr>
              <p:cNvSpPr>
                <a:spLocks/>
              </p:cNvSpPr>
              <p:nvPr/>
            </p:nvSpPr>
            <p:spPr bwMode="auto">
              <a:xfrm>
                <a:off x="3127375" y="2970213"/>
                <a:ext cx="914400" cy="914400"/>
              </a:xfrm>
              <a:custGeom>
                <a:avLst/>
                <a:gdLst>
                  <a:gd name="T0" fmla="*/ 534 w 576"/>
                  <a:gd name="T1" fmla="*/ 0 h 576"/>
                  <a:gd name="T2" fmla="*/ 42 w 576"/>
                  <a:gd name="T3" fmla="*/ 0 h 576"/>
                  <a:gd name="T4" fmla="*/ 42 w 576"/>
                  <a:gd name="T5" fmla="*/ 0 h 576"/>
                  <a:gd name="T6" fmla="*/ 34 w 576"/>
                  <a:gd name="T7" fmla="*/ 2 h 576"/>
                  <a:gd name="T8" fmla="*/ 26 w 576"/>
                  <a:gd name="T9" fmla="*/ 4 h 576"/>
                  <a:gd name="T10" fmla="*/ 18 w 576"/>
                  <a:gd name="T11" fmla="*/ 8 h 576"/>
                  <a:gd name="T12" fmla="*/ 12 w 576"/>
                  <a:gd name="T13" fmla="*/ 12 h 576"/>
                  <a:gd name="T14" fmla="*/ 8 w 576"/>
                  <a:gd name="T15" fmla="*/ 20 h 576"/>
                  <a:gd name="T16" fmla="*/ 4 w 576"/>
                  <a:gd name="T17" fmla="*/ 26 h 576"/>
                  <a:gd name="T18" fmla="*/ 0 w 576"/>
                  <a:gd name="T19" fmla="*/ 34 h 576"/>
                  <a:gd name="T20" fmla="*/ 0 w 576"/>
                  <a:gd name="T21" fmla="*/ 42 h 576"/>
                  <a:gd name="T22" fmla="*/ 0 w 576"/>
                  <a:gd name="T23" fmla="*/ 536 h 576"/>
                  <a:gd name="T24" fmla="*/ 0 w 576"/>
                  <a:gd name="T25" fmla="*/ 536 h 576"/>
                  <a:gd name="T26" fmla="*/ 0 w 576"/>
                  <a:gd name="T27" fmla="*/ 544 h 576"/>
                  <a:gd name="T28" fmla="*/ 4 w 576"/>
                  <a:gd name="T29" fmla="*/ 552 h 576"/>
                  <a:gd name="T30" fmla="*/ 8 w 576"/>
                  <a:gd name="T31" fmla="*/ 558 h 576"/>
                  <a:gd name="T32" fmla="*/ 12 w 576"/>
                  <a:gd name="T33" fmla="*/ 564 h 576"/>
                  <a:gd name="T34" fmla="*/ 18 w 576"/>
                  <a:gd name="T35" fmla="*/ 570 h 576"/>
                  <a:gd name="T36" fmla="*/ 26 w 576"/>
                  <a:gd name="T37" fmla="*/ 574 h 576"/>
                  <a:gd name="T38" fmla="*/ 34 w 576"/>
                  <a:gd name="T39" fmla="*/ 576 h 576"/>
                  <a:gd name="T40" fmla="*/ 42 w 576"/>
                  <a:gd name="T41" fmla="*/ 576 h 576"/>
                  <a:gd name="T42" fmla="*/ 534 w 576"/>
                  <a:gd name="T43" fmla="*/ 576 h 576"/>
                  <a:gd name="T44" fmla="*/ 534 w 576"/>
                  <a:gd name="T45" fmla="*/ 576 h 576"/>
                  <a:gd name="T46" fmla="*/ 542 w 576"/>
                  <a:gd name="T47" fmla="*/ 576 h 576"/>
                  <a:gd name="T48" fmla="*/ 550 w 576"/>
                  <a:gd name="T49" fmla="*/ 574 h 576"/>
                  <a:gd name="T50" fmla="*/ 558 w 576"/>
                  <a:gd name="T51" fmla="*/ 570 h 576"/>
                  <a:gd name="T52" fmla="*/ 564 w 576"/>
                  <a:gd name="T53" fmla="*/ 564 h 576"/>
                  <a:gd name="T54" fmla="*/ 568 w 576"/>
                  <a:gd name="T55" fmla="*/ 558 h 576"/>
                  <a:gd name="T56" fmla="*/ 572 w 576"/>
                  <a:gd name="T57" fmla="*/ 552 h 576"/>
                  <a:gd name="T58" fmla="*/ 576 w 576"/>
                  <a:gd name="T59" fmla="*/ 544 h 576"/>
                  <a:gd name="T60" fmla="*/ 576 w 576"/>
                  <a:gd name="T61" fmla="*/ 536 h 576"/>
                  <a:gd name="T62" fmla="*/ 576 w 576"/>
                  <a:gd name="T63" fmla="*/ 42 h 576"/>
                  <a:gd name="T64" fmla="*/ 576 w 576"/>
                  <a:gd name="T65" fmla="*/ 42 h 576"/>
                  <a:gd name="T66" fmla="*/ 576 w 576"/>
                  <a:gd name="T67" fmla="*/ 34 h 576"/>
                  <a:gd name="T68" fmla="*/ 572 w 576"/>
                  <a:gd name="T69" fmla="*/ 26 h 576"/>
                  <a:gd name="T70" fmla="*/ 568 w 576"/>
                  <a:gd name="T71" fmla="*/ 20 h 576"/>
                  <a:gd name="T72" fmla="*/ 564 w 576"/>
                  <a:gd name="T73" fmla="*/ 12 h 576"/>
                  <a:gd name="T74" fmla="*/ 558 w 576"/>
                  <a:gd name="T75" fmla="*/ 8 h 576"/>
                  <a:gd name="T76" fmla="*/ 550 w 576"/>
                  <a:gd name="T77" fmla="*/ 4 h 576"/>
                  <a:gd name="T78" fmla="*/ 542 w 576"/>
                  <a:gd name="T79" fmla="*/ 2 h 576"/>
                  <a:gd name="T80" fmla="*/ 534 w 576"/>
                  <a:gd name="T81" fmla="*/ 0 h 576"/>
                  <a:gd name="T82" fmla="*/ 534 w 576"/>
                  <a:gd name="T83"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34" y="0"/>
                    </a:moveTo>
                    <a:lnTo>
                      <a:pt x="42" y="0"/>
                    </a:lnTo>
                    <a:lnTo>
                      <a:pt x="42" y="0"/>
                    </a:lnTo>
                    <a:lnTo>
                      <a:pt x="34" y="2"/>
                    </a:lnTo>
                    <a:lnTo>
                      <a:pt x="26" y="4"/>
                    </a:lnTo>
                    <a:lnTo>
                      <a:pt x="18" y="8"/>
                    </a:lnTo>
                    <a:lnTo>
                      <a:pt x="12" y="12"/>
                    </a:lnTo>
                    <a:lnTo>
                      <a:pt x="8" y="20"/>
                    </a:lnTo>
                    <a:lnTo>
                      <a:pt x="4" y="26"/>
                    </a:lnTo>
                    <a:lnTo>
                      <a:pt x="0" y="34"/>
                    </a:lnTo>
                    <a:lnTo>
                      <a:pt x="0" y="42"/>
                    </a:lnTo>
                    <a:lnTo>
                      <a:pt x="0" y="536"/>
                    </a:lnTo>
                    <a:lnTo>
                      <a:pt x="0" y="536"/>
                    </a:lnTo>
                    <a:lnTo>
                      <a:pt x="0" y="544"/>
                    </a:lnTo>
                    <a:lnTo>
                      <a:pt x="4" y="552"/>
                    </a:lnTo>
                    <a:lnTo>
                      <a:pt x="8" y="558"/>
                    </a:lnTo>
                    <a:lnTo>
                      <a:pt x="12" y="564"/>
                    </a:lnTo>
                    <a:lnTo>
                      <a:pt x="18" y="570"/>
                    </a:lnTo>
                    <a:lnTo>
                      <a:pt x="26" y="574"/>
                    </a:lnTo>
                    <a:lnTo>
                      <a:pt x="34" y="576"/>
                    </a:lnTo>
                    <a:lnTo>
                      <a:pt x="42" y="576"/>
                    </a:lnTo>
                    <a:lnTo>
                      <a:pt x="534" y="576"/>
                    </a:lnTo>
                    <a:lnTo>
                      <a:pt x="534" y="576"/>
                    </a:lnTo>
                    <a:lnTo>
                      <a:pt x="542" y="576"/>
                    </a:lnTo>
                    <a:lnTo>
                      <a:pt x="550" y="574"/>
                    </a:lnTo>
                    <a:lnTo>
                      <a:pt x="558" y="570"/>
                    </a:lnTo>
                    <a:lnTo>
                      <a:pt x="564" y="564"/>
                    </a:lnTo>
                    <a:lnTo>
                      <a:pt x="568" y="558"/>
                    </a:lnTo>
                    <a:lnTo>
                      <a:pt x="572" y="552"/>
                    </a:lnTo>
                    <a:lnTo>
                      <a:pt x="576" y="544"/>
                    </a:lnTo>
                    <a:lnTo>
                      <a:pt x="576" y="536"/>
                    </a:lnTo>
                    <a:lnTo>
                      <a:pt x="576" y="42"/>
                    </a:lnTo>
                    <a:lnTo>
                      <a:pt x="576" y="42"/>
                    </a:lnTo>
                    <a:lnTo>
                      <a:pt x="576" y="34"/>
                    </a:lnTo>
                    <a:lnTo>
                      <a:pt x="572" y="26"/>
                    </a:lnTo>
                    <a:lnTo>
                      <a:pt x="568" y="20"/>
                    </a:lnTo>
                    <a:lnTo>
                      <a:pt x="564" y="12"/>
                    </a:lnTo>
                    <a:lnTo>
                      <a:pt x="558" y="8"/>
                    </a:lnTo>
                    <a:lnTo>
                      <a:pt x="550" y="4"/>
                    </a:lnTo>
                    <a:lnTo>
                      <a:pt x="542" y="2"/>
                    </a:lnTo>
                    <a:lnTo>
                      <a:pt x="534" y="0"/>
                    </a:lnTo>
                    <a:lnTo>
                      <a:pt x="534" y="0"/>
                    </a:lnTo>
                    <a:close/>
                  </a:path>
                </a:pathLst>
              </a:custGeom>
              <a:solidFill>
                <a:srgbClr val="00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0" name="Freeform 27">
                <a:extLst>
                  <a:ext uri="{FF2B5EF4-FFF2-40B4-BE49-F238E27FC236}">
                    <a16:creationId xmlns:a16="http://schemas.microsoft.com/office/drawing/2014/main" id="{854669B5-35C9-BFB9-5AE5-BCCCF4888FE4}"/>
                  </a:ext>
                </a:extLst>
              </p:cNvPr>
              <p:cNvSpPr>
                <a:spLocks noEditPoints="1"/>
              </p:cNvSpPr>
              <p:nvPr/>
            </p:nvSpPr>
            <p:spPr bwMode="auto">
              <a:xfrm>
                <a:off x="3251200" y="3097213"/>
                <a:ext cx="158750" cy="654050"/>
              </a:xfrm>
              <a:custGeom>
                <a:avLst/>
                <a:gdLst>
                  <a:gd name="T0" fmla="*/ 8 w 100"/>
                  <a:gd name="T1" fmla="*/ 136 h 412"/>
                  <a:gd name="T2" fmla="*/ 92 w 100"/>
                  <a:gd name="T3" fmla="*/ 136 h 412"/>
                  <a:gd name="T4" fmla="*/ 92 w 100"/>
                  <a:gd name="T5" fmla="*/ 412 h 412"/>
                  <a:gd name="T6" fmla="*/ 8 w 100"/>
                  <a:gd name="T7" fmla="*/ 412 h 412"/>
                  <a:gd name="T8" fmla="*/ 8 w 100"/>
                  <a:gd name="T9" fmla="*/ 136 h 412"/>
                  <a:gd name="T10" fmla="*/ 8 w 100"/>
                  <a:gd name="T11" fmla="*/ 136 h 412"/>
                  <a:gd name="T12" fmla="*/ 50 w 100"/>
                  <a:gd name="T13" fmla="*/ 0 h 412"/>
                  <a:gd name="T14" fmla="*/ 50 w 100"/>
                  <a:gd name="T15" fmla="*/ 0 h 412"/>
                  <a:gd name="T16" fmla="*/ 60 w 100"/>
                  <a:gd name="T17" fmla="*/ 2 h 412"/>
                  <a:gd name="T18" fmla="*/ 70 w 100"/>
                  <a:gd name="T19" fmla="*/ 4 h 412"/>
                  <a:gd name="T20" fmla="*/ 78 w 100"/>
                  <a:gd name="T21" fmla="*/ 8 h 412"/>
                  <a:gd name="T22" fmla="*/ 86 w 100"/>
                  <a:gd name="T23" fmla="*/ 14 h 412"/>
                  <a:gd name="T24" fmla="*/ 92 w 100"/>
                  <a:gd name="T25" fmla="*/ 22 h 412"/>
                  <a:gd name="T26" fmla="*/ 96 w 100"/>
                  <a:gd name="T27" fmla="*/ 30 h 412"/>
                  <a:gd name="T28" fmla="*/ 98 w 100"/>
                  <a:gd name="T29" fmla="*/ 40 h 412"/>
                  <a:gd name="T30" fmla="*/ 100 w 100"/>
                  <a:gd name="T31" fmla="*/ 50 h 412"/>
                  <a:gd name="T32" fmla="*/ 100 w 100"/>
                  <a:gd name="T33" fmla="*/ 50 h 412"/>
                  <a:gd name="T34" fmla="*/ 98 w 100"/>
                  <a:gd name="T35" fmla="*/ 60 h 412"/>
                  <a:gd name="T36" fmla="*/ 96 w 100"/>
                  <a:gd name="T37" fmla="*/ 68 h 412"/>
                  <a:gd name="T38" fmla="*/ 92 w 100"/>
                  <a:gd name="T39" fmla="*/ 78 h 412"/>
                  <a:gd name="T40" fmla="*/ 86 w 100"/>
                  <a:gd name="T41" fmla="*/ 84 h 412"/>
                  <a:gd name="T42" fmla="*/ 78 w 100"/>
                  <a:gd name="T43" fmla="*/ 90 h 412"/>
                  <a:gd name="T44" fmla="*/ 70 w 100"/>
                  <a:gd name="T45" fmla="*/ 96 h 412"/>
                  <a:gd name="T46" fmla="*/ 60 w 100"/>
                  <a:gd name="T47" fmla="*/ 98 h 412"/>
                  <a:gd name="T48" fmla="*/ 50 w 100"/>
                  <a:gd name="T49" fmla="*/ 100 h 412"/>
                  <a:gd name="T50" fmla="*/ 50 w 100"/>
                  <a:gd name="T51" fmla="*/ 100 h 412"/>
                  <a:gd name="T52" fmla="*/ 40 w 100"/>
                  <a:gd name="T53" fmla="*/ 98 h 412"/>
                  <a:gd name="T54" fmla="*/ 30 w 100"/>
                  <a:gd name="T55" fmla="*/ 96 h 412"/>
                  <a:gd name="T56" fmla="*/ 22 w 100"/>
                  <a:gd name="T57" fmla="*/ 90 h 412"/>
                  <a:gd name="T58" fmla="*/ 16 w 100"/>
                  <a:gd name="T59" fmla="*/ 84 h 412"/>
                  <a:gd name="T60" fmla="*/ 10 w 100"/>
                  <a:gd name="T61" fmla="*/ 78 h 412"/>
                  <a:gd name="T62" fmla="*/ 4 w 100"/>
                  <a:gd name="T63" fmla="*/ 68 h 412"/>
                  <a:gd name="T64" fmla="*/ 2 w 100"/>
                  <a:gd name="T65" fmla="*/ 60 h 412"/>
                  <a:gd name="T66" fmla="*/ 0 w 100"/>
                  <a:gd name="T67" fmla="*/ 50 h 412"/>
                  <a:gd name="T68" fmla="*/ 0 w 100"/>
                  <a:gd name="T69" fmla="*/ 50 h 412"/>
                  <a:gd name="T70" fmla="*/ 2 w 100"/>
                  <a:gd name="T71" fmla="*/ 40 h 412"/>
                  <a:gd name="T72" fmla="*/ 4 w 100"/>
                  <a:gd name="T73" fmla="*/ 30 h 412"/>
                  <a:gd name="T74" fmla="*/ 10 w 100"/>
                  <a:gd name="T75" fmla="*/ 22 h 412"/>
                  <a:gd name="T76" fmla="*/ 16 w 100"/>
                  <a:gd name="T77" fmla="*/ 14 h 412"/>
                  <a:gd name="T78" fmla="*/ 22 w 100"/>
                  <a:gd name="T79" fmla="*/ 8 h 412"/>
                  <a:gd name="T80" fmla="*/ 30 w 100"/>
                  <a:gd name="T81" fmla="*/ 4 h 412"/>
                  <a:gd name="T82" fmla="*/ 40 w 100"/>
                  <a:gd name="T83" fmla="*/ 2 h 412"/>
                  <a:gd name="T84" fmla="*/ 50 w 100"/>
                  <a:gd name="T8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412">
                    <a:moveTo>
                      <a:pt x="8" y="136"/>
                    </a:moveTo>
                    <a:lnTo>
                      <a:pt x="92" y="136"/>
                    </a:lnTo>
                    <a:lnTo>
                      <a:pt x="92" y="412"/>
                    </a:lnTo>
                    <a:lnTo>
                      <a:pt x="8" y="412"/>
                    </a:lnTo>
                    <a:lnTo>
                      <a:pt x="8" y="136"/>
                    </a:lnTo>
                    <a:lnTo>
                      <a:pt x="8" y="136"/>
                    </a:lnTo>
                    <a:close/>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1" name="Freeform 28">
                <a:extLst>
                  <a:ext uri="{FF2B5EF4-FFF2-40B4-BE49-F238E27FC236}">
                    <a16:creationId xmlns:a16="http://schemas.microsoft.com/office/drawing/2014/main" id="{DD5D9AD4-6345-8C2C-A85A-D1F40C957D22}"/>
                  </a:ext>
                </a:extLst>
              </p:cNvPr>
              <p:cNvSpPr>
                <a:spLocks/>
              </p:cNvSpPr>
              <p:nvPr/>
            </p:nvSpPr>
            <p:spPr bwMode="auto">
              <a:xfrm>
                <a:off x="3263900" y="3313113"/>
                <a:ext cx="133350" cy="438150"/>
              </a:xfrm>
              <a:custGeom>
                <a:avLst/>
                <a:gdLst>
                  <a:gd name="T0" fmla="*/ 0 w 84"/>
                  <a:gd name="T1" fmla="*/ 0 h 276"/>
                  <a:gd name="T2" fmla="*/ 84 w 84"/>
                  <a:gd name="T3" fmla="*/ 0 h 276"/>
                  <a:gd name="T4" fmla="*/ 84 w 84"/>
                  <a:gd name="T5" fmla="*/ 276 h 276"/>
                  <a:gd name="T6" fmla="*/ 0 w 84"/>
                  <a:gd name="T7" fmla="*/ 276 h 276"/>
                  <a:gd name="T8" fmla="*/ 0 w 84"/>
                  <a:gd name="T9" fmla="*/ 0 h 276"/>
                  <a:gd name="T10" fmla="*/ 0 w 84"/>
                  <a:gd name="T11" fmla="*/ 0 h 276"/>
                </a:gdLst>
                <a:ahLst/>
                <a:cxnLst>
                  <a:cxn ang="0">
                    <a:pos x="T0" y="T1"/>
                  </a:cxn>
                  <a:cxn ang="0">
                    <a:pos x="T2" y="T3"/>
                  </a:cxn>
                  <a:cxn ang="0">
                    <a:pos x="T4" y="T5"/>
                  </a:cxn>
                  <a:cxn ang="0">
                    <a:pos x="T6" y="T7"/>
                  </a:cxn>
                  <a:cxn ang="0">
                    <a:pos x="T8" y="T9"/>
                  </a:cxn>
                  <a:cxn ang="0">
                    <a:pos x="T10" y="T11"/>
                  </a:cxn>
                </a:cxnLst>
                <a:rect l="0" t="0" r="r" b="b"/>
                <a:pathLst>
                  <a:path w="84" h="276">
                    <a:moveTo>
                      <a:pt x="0" y="0"/>
                    </a:moveTo>
                    <a:lnTo>
                      <a:pt x="84" y="0"/>
                    </a:lnTo>
                    <a:lnTo>
                      <a:pt x="84" y="276"/>
                    </a:lnTo>
                    <a:lnTo>
                      <a:pt x="0" y="27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2" name="Freeform 29">
                <a:extLst>
                  <a:ext uri="{FF2B5EF4-FFF2-40B4-BE49-F238E27FC236}">
                    <a16:creationId xmlns:a16="http://schemas.microsoft.com/office/drawing/2014/main" id="{2F9B58C1-CB80-CE8E-FEF5-AF27E9AADFF1}"/>
                  </a:ext>
                </a:extLst>
              </p:cNvPr>
              <p:cNvSpPr>
                <a:spLocks/>
              </p:cNvSpPr>
              <p:nvPr/>
            </p:nvSpPr>
            <p:spPr bwMode="auto">
              <a:xfrm>
                <a:off x="3251200" y="3097213"/>
                <a:ext cx="158750" cy="158750"/>
              </a:xfrm>
              <a:custGeom>
                <a:avLst/>
                <a:gdLst>
                  <a:gd name="T0" fmla="*/ 50 w 100"/>
                  <a:gd name="T1" fmla="*/ 0 h 100"/>
                  <a:gd name="T2" fmla="*/ 50 w 100"/>
                  <a:gd name="T3" fmla="*/ 0 h 100"/>
                  <a:gd name="T4" fmla="*/ 60 w 100"/>
                  <a:gd name="T5" fmla="*/ 2 h 100"/>
                  <a:gd name="T6" fmla="*/ 70 w 100"/>
                  <a:gd name="T7" fmla="*/ 4 h 100"/>
                  <a:gd name="T8" fmla="*/ 78 w 100"/>
                  <a:gd name="T9" fmla="*/ 8 h 100"/>
                  <a:gd name="T10" fmla="*/ 86 w 100"/>
                  <a:gd name="T11" fmla="*/ 14 h 100"/>
                  <a:gd name="T12" fmla="*/ 92 w 100"/>
                  <a:gd name="T13" fmla="*/ 22 h 100"/>
                  <a:gd name="T14" fmla="*/ 96 w 100"/>
                  <a:gd name="T15" fmla="*/ 30 h 100"/>
                  <a:gd name="T16" fmla="*/ 98 w 100"/>
                  <a:gd name="T17" fmla="*/ 40 h 100"/>
                  <a:gd name="T18" fmla="*/ 100 w 100"/>
                  <a:gd name="T19" fmla="*/ 50 h 100"/>
                  <a:gd name="T20" fmla="*/ 100 w 100"/>
                  <a:gd name="T21" fmla="*/ 50 h 100"/>
                  <a:gd name="T22" fmla="*/ 98 w 100"/>
                  <a:gd name="T23" fmla="*/ 60 h 100"/>
                  <a:gd name="T24" fmla="*/ 96 w 100"/>
                  <a:gd name="T25" fmla="*/ 68 h 100"/>
                  <a:gd name="T26" fmla="*/ 92 w 100"/>
                  <a:gd name="T27" fmla="*/ 78 h 100"/>
                  <a:gd name="T28" fmla="*/ 86 w 100"/>
                  <a:gd name="T29" fmla="*/ 84 h 100"/>
                  <a:gd name="T30" fmla="*/ 78 w 100"/>
                  <a:gd name="T31" fmla="*/ 90 h 100"/>
                  <a:gd name="T32" fmla="*/ 70 w 100"/>
                  <a:gd name="T33" fmla="*/ 96 h 100"/>
                  <a:gd name="T34" fmla="*/ 60 w 100"/>
                  <a:gd name="T35" fmla="*/ 98 h 100"/>
                  <a:gd name="T36" fmla="*/ 50 w 100"/>
                  <a:gd name="T37" fmla="*/ 100 h 100"/>
                  <a:gd name="T38" fmla="*/ 50 w 100"/>
                  <a:gd name="T39" fmla="*/ 100 h 100"/>
                  <a:gd name="T40" fmla="*/ 40 w 100"/>
                  <a:gd name="T41" fmla="*/ 98 h 100"/>
                  <a:gd name="T42" fmla="*/ 30 w 100"/>
                  <a:gd name="T43" fmla="*/ 96 h 100"/>
                  <a:gd name="T44" fmla="*/ 22 w 100"/>
                  <a:gd name="T45" fmla="*/ 90 h 100"/>
                  <a:gd name="T46" fmla="*/ 16 w 100"/>
                  <a:gd name="T47" fmla="*/ 84 h 100"/>
                  <a:gd name="T48" fmla="*/ 10 w 100"/>
                  <a:gd name="T49" fmla="*/ 78 h 100"/>
                  <a:gd name="T50" fmla="*/ 4 w 100"/>
                  <a:gd name="T51" fmla="*/ 68 h 100"/>
                  <a:gd name="T52" fmla="*/ 2 w 100"/>
                  <a:gd name="T53" fmla="*/ 60 h 100"/>
                  <a:gd name="T54" fmla="*/ 0 w 100"/>
                  <a:gd name="T55" fmla="*/ 50 h 100"/>
                  <a:gd name="T56" fmla="*/ 0 w 100"/>
                  <a:gd name="T57" fmla="*/ 50 h 100"/>
                  <a:gd name="T58" fmla="*/ 2 w 100"/>
                  <a:gd name="T59" fmla="*/ 40 h 100"/>
                  <a:gd name="T60" fmla="*/ 4 w 100"/>
                  <a:gd name="T61" fmla="*/ 30 h 100"/>
                  <a:gd name="T62" fmla="*/ 10 w 100"/>
                  <a:gd name="T63" fmla="*/ 22 h 100"/>
                  <a:gd name="T64" fmla="*/ 16 w 100"/>
                  <a:gd name="T65" fmla="*/ 14 h 100"/>
                  <a:gd name="T66" fmla="*/ 22 w 100"/>
                  <a:gd name="T67" fmla="*/ 8 h 100"/>
                  <a:gd name="T68" fmla="*/ 30 w 100"/>
                  <a:gd name="T69" fmla="*/ 4 h 100"/>
                  <a:gd name="T70" fmla="*/ 40 w 100"/>
                  <a:gd name="T71" fmla="*/ 2 h 100"/>
                  <a:gd name="T72" fmla="*/ 50 w 100"/>
                  <a:gd name="T7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00">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sp>
            <p:nvSpPr>
              <p:cNvPr id="13" name="Freeform 30">
                <a:extLst>
                  <a:ext uri="{FF2B5EF4-FFF2-40B4-BE49-F238E27FC236}">
                    <a16:creationId xmlns:a16="http://schemas.microsoft.com/office/drawing/2014/main" id="{7BCDC8A7-4240-4554-2F9B-EA8901B8C420}"/>
                  </a:ext>
                </a:extLst>
              </p:cNvPr>
              <p:cNvSpPr>
                <a:spLocks/>
              </p:cNvSpPr>
              <p:nvPr/>
            </p:nvSpPr>
            <p:spPr bwMode="auto">
              <a:xfrm>
                <a:off x="3482975" y="3303588"/>
                <a:ext cx="422275" cy="447675"/>
              </a:xfrm>
              <a:custGeom>
                <a:avLst/>
                <a:gdLst>
                  <a:gd name="T0" fmla="*/ 0 w 266"/>
                  <a:gd name="T1" fmla="*/ 6 h 282"/>
                  <a:gd name="T2" fmla="*/ 82 w 266"/>
                  <a:gd name="T3" fmla="*/ 6 h 282"/>
                  <a:gd name="T4" fmla="*/ 82 w 266"/>
                  <a:gd name="T5" fmla="*/ 44 h 282"/>
                  <a:gd name="T6" fmla="*/ 84 w 266"/>
                  <a:gd name="T7" fmla="*/ 44 h 282"/>
                  <a:gd name="T8" fmla="*/ 84 w 266"/>
                  <a:gd name="T9" fmla="*/ 44 h 282"/>
                  <a:gd name="T10" fmla="*/ 88 w 266"/>
                  <a:gd name="T11" fmla="*/ 36 h 282"/>
                  <a:gd name="T12" fmla="*/ 96 w 266"/>
                  <a:gd name="T13" fmla="*/ 28 h 282"/>
                  <a:gd name="T14" fmla="*/ 104 w 266"/>
                  <a:gd name="T15" fmla="*/ 20 h 282"/>
                  <a:gd name="T16" fmla="*/ 112 w 266"/>
                  <a:gd name="T17" fmla="*/ 14 h 282"/>
                  <a:gd name="T18" fmla="*/ 124 w 266"/>
                  <a:gd name="T19" fmla="*/ 8 h 282"/>
                  <a:gd name="T20" fmla="*/ 136 w 266"/>
                  <a:gd name="T21" fmla="*/ 4 h 282"/>
                  <a:gd name="T22" fmla="*/ 150 w 266"/>
                  <a:gd name="T23" fmla="*/ 0 h 282"/>
                  <a:gd name="T24" fmla="*/ 164 w 266"/>
                  <a:gd name="T25" fmla="*/ 0 h 282"/>
                  <a:gd name="T26" fmla="*/ 164 w 266"/>
                  <a:gd name="T27" fmla="*/ 0 h 282"/>
                  <a:gd name="T28" fmla="*/ 180 w 266"/>
                  <a:gd name="T29" fmla="*/ 0 h 282"/>
                  <a:gd name="T30" fmla="*/ 194 w 266"/>
                  <a:gd name="T31" fmla="*/ 2 h 282"/>
                  <a:gd name="T32" fmla="*/ 206 w 266"/>
                  <a:gd name="T33" fmla="*/ 6 h 282"/>
                  <a:gd name="T34" fmla="*/ 216 w 266"/>
                  <a:gd name="T35" fmla="*/ 10 h 282"/>
                  <a:gd name="T36" fmla="*/ 226 w 266"/>
                  <a:gd name="T37" fmla="*/ 16 h 282"/>
                  <a:gd name="T38" fmla="*/ 234 w 266"/>
                  <a:gd name="T39" fmla="*/ 22 h 282"/>
                  <a:gd name="T40" fmla="*/ 242 w 266"/>
                  <a:gd name="T41" fmla="*/ 30 h 282"/>
                  <a:gd name="T42" fmla="*/ 248 w 266"/>
                  <a:gd name="T43" fmla="*/ 38 h 282"/>
                  <a:gd name="T44" fmla="*/ 254 w 266"/>
                  <a:gd name="T45" fmla="*/ 46 h 282"/>
                  <a:gd name="T46" fmla="*/ 258 w 266"/>
                  <a:gd name="T47" fmla="*/ 56 h 282"/>
                  <a:gd name="T48" fmla="*/ 262 w 266"/>
                  <a:gd name="T49" fmla="*/ 80 h 282"/>
                  <a:gd name="T50" fmla="*/ 266 w 266"/>
                  <a:gd name="T51" fmla="*/ 104 h 282"/>
                  <a:gd name="T52" fmla="*/ 266 w 266"/>
                  <a:gd name="T53" fmla="*/ 130 h 282"/>
                  <a:gd name="T54" fmla="*/ 266 w 266"/>
                  <a:gd name="T55" fmla="*/ 282 h 282"/>
                  <a:gd name="T56" fmla="*/ 182 w 266"/>
                  <a:gd name="T57" fmla="*/ 282 h 282"/>
                  <a:gd name="T58" fmla="*/ 182 w 266"/>
                  <a:gd name="T59" fmla="*/ 148 h 282"/>
                  <a:gd name="T60" fmla="*/ 182 w 266"/>
                  <a:gd name="T61" fmla="*/ 148 h 282"/>
                  <a:gd name="T62" fmla="*/ 180 w 266"/>
                  <a:gd name="T63" fmla="*/ 124 h 282"/>
                  <a:gd name="T64" fmla="*/ 178 w 266"/>
                  <a:gd name="T65" fmla="*/ 110 h 282"/>
                  <a:gd name="T66" fmla="*/ 176 w 266"/>
                  <a:gd name="T67" fmla="*/ 100 h 282"/>
                  <a:gd name="T68" fmla="*/ 170 w 266"/>
                  <a:gd name="T69" fmla="*/ 90 h 282"/>
                  <a:gd name="T70" fmla="*/ 162 w 266"/>
                  <a:gd name="T71" fmla="*/ 82 h 282"/>
                  <a:gd name="T72" fmla="*/ 152 w 266"/>
                  <a:gd name="T73" fmla="*/ 76 h 282"/>
                  <a:gd name="T74" fmla="*/ 138 w 266"/>
                  <a:gd name="T75" fmla="*/ 76 h 282"/>
                  <a:gd name="T76" fmla="*/ 138 w 266"/>
                  <a:gd name="T77" fmla="*/ 76 h 282"/>
                  <a:gd name="T78" fmla="*/ 122 w 266"/>
                  <a:gd name="T79" fmla="*/ 76 h 282"/>
                  <a:gd name="T80" fmla="*/ 110 w 266"/>
                  <a:gd name="T81" fmla="*/ 82 h 282"/>
                  <a:gd name="T82" fmla="*/ 102 w 266"/>
                  <a:gd name="T83" fmla="*/ 88 h 282"/>
                  <a:gd name="T84" fmla="*/ 94 w 266"/>
                  <a:gd name="T85" fmla="*/ 96 h 282"/>
                  <a:gd name="T86" fmla="*/ 90 w 266"/>
                  <a:gd name="T87" fmla="*/ 108 h 282"/>
                  <a:gd name="T88" fmla="*/ 88 w 266"/>
                  <a:gd name="T89" fmla="*/ 120 h 282"/>
                  <a:gd name="T90" fmla="*/ 86 w 266"/>
                  <a:gd name="T91" fmla="*/ 146 h 282"/>
                  <a:gd name="T92" fmla="*/ 86 w 266"/>
                  <a:gd name="T93" fmla="*/ 282 h 282"/>
                  <a:gd name="T94" fmla="*/ 0 w 266"/>
                  <a:gd name="T95" fmla="*/ 282 h 282"/>
                  <a:gd name="T96" fmla="*/ 0 w 266"/>
                  <a:gd name="T97" fmla="*/ 6 h 282"/>
                  <a:gd name="T98" fmla="*/ 0 w 266"/>
                  <a:gd name="T99"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82">
                    <a:moveTo>
                      <a:pt x="0" y="6"/>
                    </a:moveTo>
                    <a:lnTo>
                      <a:pt x="82" y="6"/>
                    </a:lnTo>
                    <a:lnTo>
                      <a:pt x="82" y="44"/>
                    </a:lnTo>
                    <a:lnTo>
                      <a:pt x="84" y="44"/>
                    </a:lnTo>
                    <a:lnTo>
                      <a:pt x="84" y="44"/>
                    </a:lnTo>
                    <a:lnTo>
                      <a:pt x="88" y="36"/>
                    </a:lnTo>
                    <a:lnTo>
                      <a:pt x="96" y="28"/>
                    </a:lnTo>
                    <a:lnTo>
                      <a:pt x="104" y="20"/>
                    </a:lnTo>
                    <a:lnTo>
                      <a:pt x="112" y="14"/>
                    </a:lnTo>
                    <a:lnTo>
                      <a:pt x="124" y="8"/>
                    </a:lnTo>
                    <a:lnTo>
                      <a:pt x="136" y="4"/>
                    </a:lnTo>
                    <a:lnTo>
                      <a:pt x="150" y="0"/>
                    </a:lnTo>
                    <a:lnTo>
                      <a:pt x="164" y="0"/>
                    </a:lnTo>
                    <a:lnTo>
                      <a:pt x="164" y="0"/>
                    </a:lnTo>
                    <a:lnTo>
                      <a:pt x="180" y="0"/>
                    </a:lnTo>
                    <a:lnTo>
                      <a:pt x="194" y="2"/>
                    </a:lnTo>
                    <a:lnTo>
                      <a:pt x="206" y="6"/>
                    </a:lnTo>
                    <a:lnTo>
                      <a:pt x="216" y="10"/>
                    </a:lnTo>
                    <a:lnTo>
                      <a:pt x="226" y="16"/>
                    </a:lnTo>
                    <a:lnTo>
                      <a:pt x="234" y="22"/>
                    </a:lnTo>
                    <a:lnTo>
                      <a:pt x="242" y="30"/>
                    </a:lnTo>
                    <a:lnTo>
                      <a:pt x="248" y="38"/>
                    </a:lnTo>
                    <a:lnTo>
                      <a:pt x="254" y="46"/>
                    </a:lnTo>
                    <a:lnTo>
                      <a:pt x="258" y="56"/>
                    </a:lnTo>
                    <a:lnTo>
                      <a:pt x="262" y="80"/>
                    </a:lnTo>
                    <a:lnTo>
                      <a:pt x="266" y="104"/>
                    </a:lnTo>
                    <a:lnTo>
                      <a:pt x="266" y="130"/>
                    </a:lnTo>
                    <a:lnTo>
                      <a:pt x="266" y="282"/>
                    </a:lnTo>
                    <a:lnTo>
                      <a:pt x="182" y="282"/>
                    </a:lnTo>
                    <a:lnTo>
                      <a:pt x="182" y="148"/>
                    </a:lnTo>
                    <a:lnTo>
                      <a:pt x="182" y="148"/>
                    </a:lnTo>
                    <a:lnTo>
                      <a:pt x="180" y="124"/>
                    </a:lnTo>
                    <a:lnTo>
                      <a:pt x="178" y="110"/>
                    </a:lnTo>
                    <a:lnTo>
                      <a:pt x="176" y="100"/>
                    </a:lnTo>
                    <a:lnTo>
                      <a:pt x="170" y="90"/>
                    </a:lnTo>
                    <a:lnTo>
                      <a:pt x="162" y="82"/>
                    </a:lnTo>
                    <a:lnTo>
                      <a:pt x="152" y="76"/>
                    </a:lnTo>
                    <a:lnTo>
                      <a:pt x="138" y="76"/>
                    </a:lnTo>
                    <a:lnTo>
                      <a:pt x="138" y="76"/>
                    </a:lnTo>
                    <a:lnTo>
                      <a:pt x="122" y="76"/>
                    </a:lnTo>
                    <a:lnTo>
                      <a:pt x="110" y="82"/>
                    </a:lnTo>
                    <a:lnTo>
                      <a:pt x="102" y="88"/>
                    </a:lnTo>
                    <a:lnTo>
                      <a:pt x="94" y="96"/>
                    </a:lnTo>
                    <a:lnTo>
                      <a:pt x="90" y="108"/>
                    </a:lnTo>
                    <a:lnTo>
                      <a:pt x="88" y="120"/>
                    </a:lnTo>
                    <a:lnTo>
                      <a:pt x="86" y="146"/>
                    </a:lnTo>
                    <a:lnTo>
                      <a:pt x="86" y="282"/>
                    </a:lnTo>
                    <a:lnTo>
                      <a:pt x="0" y="282"/>
                    </a:lnTo>
                    <a:lnTo>
                      <a:pt x="0"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dirty="0"/>
              </a:p>
            </p:txBody>
          </p:sp>
        </p:grpSp>
        <p:pic>
          <p:nvPicPr>
            <p:cNvPr id="8" name="Graphic 7">
              <a:extLst>
                <a:ext uri="{FF2B5EF4-FFF2-40B4-BE49-F238E27FC236}">
                  <a16:creationId xmlns:a16="http://schemas.microsoft.com/office/drawing/2014/main" id="{5AE82C99-8449-D606-96BF-D5953A0AF58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97577" y="5207799"/>
              <a:ext cx="388800" cy="388800"/>
            </a:xfrm>
            <a:prstGeom prst="rect">
              <a:avLst/>
            </a:prstGeom>
          </p:spPr>
        </p:pic>
      </p:grpSp>
    </p:spTree>
    <p:extLst>
      <p:ext uri="{BB962C8B-B14F-4D97-AF65-F5344CB8AC3E}">
        <p14:creationId xmlns:p14="http://schemas.microsoft.com/office/powerpoint/2010/main" val="2365491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755651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341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EB948B8-A791-4812-B4E5-E27E46CC9D30}" type="datetimeFigureOut">
              <a:rPr lang="en-AE" smtClean="0"/>
              <a:t>21/02/2026</a:t>
            </a:fld>
            <a:endParaRPr lang="en-AE"/>
          </a:p>
        </p:txBody>
      </p:sp>
      <p:sp>
        <p:nvSpPr>
          <p:cNvPr id="4" name="Footer Placeholder 3"/>
          <p:cNvSpPr>
            <a:spLocks noGrp="1"/>
          </p:cNvSpPr>
          <p:nvPr>
            <p:ph type="ftr" sz="quarter" idx="11"/>
          </p:nvPr>
        </p:nvSpPr>
        <p:spPr/>
        <p:txBody>
          <a:bodyPr/>
          <a:lstStyle/>
          <a:p>
            <a:endParaRPr lang="en-AE"/>
          </a:p>
        </p:txBody>
      </p:sp>
      <p:sp>
        <p:nvSpPr>
          <p:cNvPr id="5" name="Slide Number Placeholder 4"/>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266408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B948B8-A791-4812-B4E5-E27E46CC9D30}" type="datetimeFigureOut">
              <a:rPr lang="en-AE" smtClean="0"/>
              <a:t>21/02/2026</a:t>
            </a:fld>
            <a:endParaRPr lang="en-AE"/>
          </a:p>
        </p:txBody>
      </p:sp>
      <p:sp>
        <p:nvSpPr>
          <p:cNvPr id="3" name="Footer Placeholder 2"/>
          <p:cNvSpPr>
            <a:spLocks noGrp="1"/>
          </p:cNvSpPr>
          <p:nvPr>
            <p:ph type="ftr" sz="quarter" idx="11"/>
          </p:nvPr>
        </p:nvSpPr>
        <p:spPr/>
        <p:txBody>
          <a:bodyPr/>
          <a:lstStyle/>
          <a:p>
            <a:endParaRPr lang="en-AE"/>
          </a:p>
        </p:txBody>
      </p:sp>
      <p:sp>
        <p:nvSpPr>
          <p:cNvPr id="4" name="Slide Number Placeholder 3"/>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1145599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13234" y="1200150"/>
            <a:ext cx="2661841" cy="1028700"/>
          </a:xfrm>
        </p:spPr>
        <p:txBody>
          <a:bodyPr anchor="b">
            <a:normAutofit/>
          </a:bodyPr>
          <a:lstStyle>
            <a:lvl1pPr algn="ctr">
              <a:defRPr sz="1800" b="0"/>
            </a:lvl1pPr>
          </a:lstStyle>
          <a:p>
            <a:r>
              <a:rPr lang="en-US"/>
              <a:t>Click to edit Master title style</a:t>
            </a:r>
            <a:endParaRPr lang="en-US" dirty="0"/>
          </a:p>
        </p:txBody>
      </p:sp>
      <p:sp>
        <p:nvSpPr>
          <p:cNvPr id="3" name="Content Placeholder 2"/>
          <p:cNvSpPr>
            <a:spLocks noGrp="1"/>
          </p:cNvSpPr>
          <p:nvPr>
            <p:ph idx="1"/>
          </p:nvPr>
        </p:nvSpPr>
        <p:spPr>
          <a:xfrm>
            <a:off x="3946525" y="514350"/>
            <a:ext cx="4680743" cy="3829051"/>
          </a:xfrm>
        </p:spPr>
        <p:txBody>
          <a:bodyPr anchor="ct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3234" y="2228850"/>
            <a:ext cx="2661841" cy="1371600"/>
          </a:xfrm>
        </p:spPr>
        <p:txBody>
          <a:bodyPr>
            <a:normAutofit/>
          </a:bodyPr>
          <a:lstStyle>
            <a:lvl1pPr marL="0" indent="0" algn="ctr">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6EB948B8-A791-4812-B4E5-E27E46CC9D30}" type="datetimeFigureOut">
              <a:rPr lang="en-AE" smtClean="0"/>
              <a:t>21/02/2026</a:t>
            </a:fld>
            <a:endParaRPr lang="en-AE"/>
          </a:p>
        </p:txBody>
      </p:sp>
      <p:sp>
        <p:nvSpPr>
          <p:cNvPr id="6" name="Footer Placeholder 5"/>
          <p:cNvSpPr>
            <a:spLocks noGrp="1"/>
          </p:cNvSpPr>
          <p:nvPr>
            <p:ph type="ftr" sz="quarter" idx="11"/>
          </p:nvPr>
        </p:nvSpPr>
        <p:spPr/>
        <p:txBody>
          <a:bodyPr/>
          <a:lstStyle/>
          <a:p>
            <a:endParaRPr lang="en-AE"/>
          </a:p>
        </p:txBody>
      </p:sp>
      <p:sp>
        <p:nvSpPr>
          <p:cNvPr id="7" name="Slide Number Placeholder 6"/>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2148480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12043" y="1314449"/>
            <a:ext cx="4069619" cy="1028700"/>
          </a:xfrm>
        </p:spPr>
        <p:txBody>
          <a:bodyPr anchor="b">
            <a:normAutofit/>
          </a:bodyPr>
          <a:lstStyle>
            <a:lvl1pPr algn="ctr">
              <a:defRPr sz="21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5696011" y="685800"/>
            <a:ext cx="2460731" cy="3429000"/>
          </a:xfrm>
          <a:prstGeom prst="roundRect">
            <a:avLst>
              <a:gd name="adj" fmla="val 42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1112043" y="2343149"/>
            <a:ext cx="4069619" cy="1371600"/>
          </a:xfrm>
        </p:spPr>
        <p:txBody>
          <a:bodyPr>
            <a:normAutofit/>
          </a:bodyPr>
          <a:lstStyle>
            <a:lvl1pPr marL="0" indent="0" algn="ctr">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6EB948B8-A791-4812-B4E5-E27E46CC9D30}" type="datetimeFigureOut">
              <a:rPr lang="en-AE" smtClean="0"/>
              <a:t>21/02/2026</a:t>
            </a:fld>
            <a:endParaRPr lang="en-AE"/>
          </a:p>
        </p:txBody>
      </p:sp>
      <p:sp>
        <p:nvSpPr>
          <p:cNvPr id="6" name="Footer Placeholder 5"/>
          <p:cNvSpPr>
            <a:spLocks noGrp="1"/>
          </p:cNvSpPr>
          <p:nvPr>
            <p:ph type="ftr" sz="quarter" idx="11"/>
          </p:nvPr>
        </p:nvSpPr>
        <p:spPr/>
        <p:txBody>
          <a:bodyPr/>
          <a:lstStyle/>
          <a:p>
            <a:endParaRPr lang="en-AE"/>
          </a:p>
        </p:txBody>
      </p:sp>
      <p:sp>
        <p:nvSpPr>
          <p:cNvPr id="7" name="Slide Number Placeholder 6"/>
          <p:cNvSpPr>
            <a:spLocks noGrp="1"/>
          </p:cNvSpPr>
          <p:nvPr>
            <p:ph type="sldNum" sz="quarter" idx="12"/>
          </p:nvPr>
        </p:nvSpPr>
        <p:spPr/>
        <p:txBody>
          <a:bodyPr/>
          <a:lstStyle/>
          <a:p>
            <a:fld id="{56826901-24D5-43EF-88AD-867BD26069A3}" type="slidenum">
              <a:rPr lang="en-AE" smtClean="0"/>
              <a:t>‹#›</a:t>
            </a:fld>
            <a:endParaRPr lang="en-AE"/>
          </a:p>
        </p:txBody>
      </p:sp>
    </p:spTree>
    <p:extLst>
      <p:ext uri="{BB962C8B-B14F-4D97-AF65-F5344CB8AC3E}">
        <p14:creationId xmlns:p14="http://schemas.microsoft.com/office/powerpoint/2010/main" val="13312130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7" name="Group 6"/>
          <p:cNvGrpSpPr/>
          <p:nvPr/>
        </p:nvGrpSpPr>
        <p:grpSpPr>
          <a:xfrm>
            <a:off x="113109" y="0"/>
            <a:ext cx="1827610" cy="5143501"/>
            <a:chOff x="1320800" y="0"/>
            <a:chExt cx="2436813" cy="6858001"/>
          </a:xfrm>
        </p:grpSpPr>
        <p:sp>
          <p:nvSpPr>
            <p:cNvPr id="8" name="Freeform 6"/>
            <p:cNvSpPr/>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txBody>
            <a:bodyPr/>
            <a:lstStyle/>
            <a:p>
              <a:endParaRPr lang="en-AE"/>
            </a:p>
          </p:txBody>
        </p:sp>
        <p:sp>
          <p:nvSpPr>
            <p:cNvPr id="9" name="Freeform 7"/>
            <p:cNvSpPr/>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chemeClr val="tx1">
                <a:lumMod val="65000"/>
                <a:lumOff val="35000"/>
              </a:schemeClr>
            </a:solidFill>
            <a:ln>
              <a:noFill/>
            </a:ln>
          </p:spPr>
          <p:txBody>
            <a:bodyPr/>
            <a:lstStyle/>
            <a:p>
              <a:endParaRPr lang="en-AE"/>
            </a:p>
          </p:txBody>
        </p:sp>
        <p:sp>
          <p:nvSpPr>
            <p:cNvPr id="10" name="Freeform 8"/>
            <p:cNvSpPr/>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chemeClr val="tx1">
                <a:lumMod val="85000"/>
                <a:lumOff val="15000"/>
              </a:schemeClr>
            </a:solidFill>
            <a:ln>
              <a:noFill/>
            </a:ln>
          </p:spPr>
          <p:txBody>
            <a:bodyPr/>
            <a:lstStyle/>
            <a:p>
              <a:endParaRPr lang="en-AE"/>
            </a:p>
          </p:txBody>
        </p:sp>
        <p:sp>
          <p:nvSpPr>
            <p:cNvPr id="11" name="Freeform 9"/>
            <p:cNvSpPr/>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txBody>
            <a:bodyPr/>
            <a:lstStyle/>
            <a:p>
              <a:endParaRPr lang="en-AE"/>
            </a:p>
          </p:txBody>
        </p:sp>
        <p:sp>
          <p:nvSpPr>
            <p:cNvPr id="12" name="Freeform 10"/>
            <p:cNvSpPr/>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txBody>
            <a:bodyPr/>
            <a:lstStyle/>
            <a:p>
              <a:endParaRPr lang="en-AE"/>
            </a:p>
          </p:txBody>
        </p:sp>
        <p:sp>
          <p:nvSpPr>
            <p:cNvPr id="13" name="Freeform 11"/>
            <p:cNvSpPr/>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chemeClr val="tx1">
                <a:lumMod val="75000"/>
                <a:lumOff val="25000"/>
              </a:schemeClr>
            </a:solidFill>
            <a:ln>
              <a:noFill/>
            </a:ln>
          </p:spPr>
          <p:txBody>
            <a:bodyPr/>
            <a:lstStyle/>
            <a:p>
              <a:endParaRPr lang="en-AE"/>
            </a:p>
          </p:txBody>
        </p:sp>
      </p:grpSp>
      <p:sp>
        <p:nvSpPr>
          <p:cNvPr id="2" name="Title Placeholder 1"/>
          <p:cNvSpPr>
            <a:spLocks noGrp="1"/>
          </p:cNvSpPr>
          <p:nvPr>
            <p:ph type="title"/>
          </p:nvPr>
        </p:nvSpPr>
        <p:spPr>
          <a:xfrm>
            <a:off x="1113234" y="514351"/>
            <a:ext cx="7514035" cy="1314449"/>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113233" y="2000250"/>
            <a:ext cx="7514035" cy="2343151"/>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99492" y="4412457"/>
            <a:ext cx="857250" cy="273844"/>
          </a:xfrm>
          <a:prstGeom prst="rect">
            <a:avLst/>
          </a:prstGeom>
        </p:spPr>
        <p:txBody>
          <a:bodyPr vert="horz" lIns="91440" tIns="45720" rIns="91440" bIns="45720" rtlCol="0" anchor="ctr"/>
          <a:lstStyle>
            <a:lvl1pPr algn="r">
              <a:defRPr sz="750" b="0" i="0">
                <a:solidFill>
                  <a:schemeClr val="tx1"/>
                </a:solidFill>
                <a:effectLst/>
                <a:latin typeface="+mn-lt"/>
              </a:defRPr>
            </a:lvl1pPr>
          </a:lstStyle>
          <a:p>
            <a:fld id="{6EB948B8-A791-4812-B4E5-E27E46CC9D30}" type="datetimeFigureOut">
              <a:rPr lang="en-AE" smtClean="0"/>
              <a:t>21/02/2026</a:t>
            </a:fld>
            <a:endParaRPr lang="en-AE"/>
          </a:p>
        </p:txBody>
      </p:sp>
      <p:sp>
        <p:nvSpPr>
          <p:cNvPr id="5" name="Footer Placeholder 4"/>
          <p:cNvSpPr>
            <a:spLocks noGrp="1"/>
          </p:cNvSpPr>
          <p:nvPr>
            <p:ph type="ftr" sz="quarter" idx="3"/>
          </p:nvPr>
        </p:nvSpPr>
        <p:spPr>
          <a:xfrm>
            <a:off x="1929210" y="4412457"/>
            <a:ext cx="5313133" cy="273844"/>
          </a:xfrm>
          <a:prstGeom prst="rect">
            <a:avLst/>
          </a:prstGeom>
        </p:spPr>
        <p:txBody>
          <a:bodyPr vert="horz" lIns="91440" tIns="45720" rIns="91440" bIns="45720" rtlCol="0" anchor="ctr"/>
          <a:lstStyle>
            <a:lvl1pPr algn="l">
              <a:defRPr sz="750" b="0" i="0">
                <a:solidFill>
                  <a:schemeClr val="tx1"/>
                </a:solidFill>
                <a:effectLst/>
                <a:latin typeface="+mn-lt"/>
              </a:defRPr>
            </a:lvl1pPr>
          </a:lstStyle>
          <a:p>
            <a:endParaRPr lang="en-AE"/>
          </a:p>
        </p:txBody>
      </p:sp>
      <p:sp>
        <p:nvSpPr>
          <p:cNvPr id="6" name="Slide Number Placeholder 5"/>
          <p:cNvSpPr>
            <a:spLocks noGrp="1"/>
          </p:cNvSpPr>
          <p:nvPr>
            <p:ph type="sldNum" sz="quarter" idx="4"/>
          </p:nvPr>
        </p:nvSpPr>
        <p:spPr>
          <a:xfrm>
            <a:off x="8213893" y="4412457"/>
            <a:ext cx="413375" cy="273844"/>
          </a:xfrm>
          <a:prstGeom prst="rect">
            <a:avLst/>
          </a:prstGeom>
        </p:spPr>
        <p:txBody>
          <a:bodyPr vert="horz" lIns="91440" tIns="45720" rIns="91440" bIns="45720" rtlCol="0" anchor="ctr"/>
          <a:lstStyle>
            <a:lvl1pPr algn="r">
              <a:defRPr sz="750" b="0" i="0">
                <a:solidFill>
                  <a:schemeClr val="tx1"/>
                </a:solidFill>
                <a:effectLst/>
                <a:latin typeface="+mn-lt"/>
              </a:defRPr>
            </a:lvl1pPr>
          </a:lstStyle>
          <a:p>
            <a:fld id="{56826901-24D5-43EF-88AD-867BD26069A3}" type="slidenum">
              <a:rPr lang="en-AE" smtClean="0"/>
              <a:t>‹#›</a:t>
            </a:fld>
            <a:endParaRPr lang="en-AE"/>
          </a:p>
        </p:txBody>
      </p:sp>
      <p:sp>
        <p:nvSpPr>
          <p:cNvPr id="14" name="Shape 8">
            <a:extLst>
              <a:ext uri="{FF2B5EF4-FFF2-40B4-BE49-F238E27FC236}">
                <a16:creationId xmlns:a16="http://schemas.microsoft.com/office/drawing/2014/main" id="{0BF9D969-9E53-1500-E402-399159020A96}"/>
              </a:ext>
            </a:extLst>
          </p:cNvPr>
          <p:cNvSpPr txBox="1">
            <a:spLocks/>
          </p:cNvSpPr>
          <p:nvPr userDrawn="1"/>
        </p:nvSpPr>
        <p:spPr>
          <a:xfrm>
            <a:off x="8149114" y="4748859"/>
            <a:ext cx="242486" cy="11205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accent2"/>
                </a:solidFill>
                <a:latin typeface="+mn-lt"/>
                <a:ea typeface="Arial"/>
                <a:cs typeface="Arial" panose="020B0604020202020204" pitchFamily="34" charset="0"/>
              </a:rPr>
              <a:pPr algn="r"/>
              <a:t>‹#›</a:t>
            </a:fld>
            <a:endParaRPr lang="en-GB" sz="750" dirty="0">
              <a:solidFill>
                <a:schemeClr val="accent2"/>
              </a:solidFill>
              <a:latin typeface="+mn-lt"/>
              <a:ea typeface="Arial"/>
              <a:cs typeface="Arial" panose="020B0604020202020204" pitchFamily="34" charset="0"/>
            </a:endParaRPr>
          </a:p>
        </p:txBody>
      </p:sp>
      <p:cxnSp>
        <p:nvCxnSpPr>
          <p:cNvPr id="15" name="Straight Connector 14">
            <a:extLst>
              <a:ext uri="{FF2B5EF4-FFF2-40B4-BE49-F238E27FC236}">
                <a16:creationId xmlns:a16="http://schemas.microsoft.com/office/drawing/2014/main" id="{EF3A0836-478E-4B9A-526B-3D4C3415C8AA}"/>
              </a:ext>
            </a:extLst>
          </p:cNvPr>
          <p:cNvCxnSpPr/>
          <p:nvPr userDrawn="1"/>
        </p:nvCxnSpPr>
        <p:spPr>
          <a:xfrm>
            <a:off x="8131055" y="4748859"/>
            <a:ext cx="0" cy="11205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501850"/>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6" r:id="rId55"/>
    <p:sldLayoutId id="2147483727" r:id="rId56"/>
    <p:sldLayoutId id="2147483728" r:id="rId57"/>
    <p:sldLayoutId id="2147483730" r:id="rId58"/>
  </p:sldLayoutIdLst>
  <p:txStyles>
    <p:titleStyle>
      <a:lvl1pPr algn="ctr" defTabSz="342900" rtl="0" eaLnBrk="1" latinLnBrk="0" hangingPunct="1">
        <a:spcBef>
          <a:spcPct val="0"/>
        </a:spcBef>
        <a:buNone/>
        <a:defRPr sz="3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14313" indent="-214313" algn="l" defTabSz="342900" rtl="0" eaLnBrk="1" latinLnBrk="0" hangingPunct="1">
        <a:spcBef>
          <a:spcPct val="20000"/>
        </a:spcBef>
        <a:spcAft>
          <a:spcPts val="450"/>
        </a:spcAft>
        <a:buClr>
          <a:schemeClr val="accent1">
            <a:lumMod val="75000"/>
          </a:schemeClr>
        </a:buClr>
        <a:buSzPct val="145000"/>
        <a:buFont typeface="Arial"/>
        <a:buChar char="•"/>
        <a:defRPr sz="1800" kern="1200" cap="none">
          <a:solidFill>
            <a:schemeClr val="tx1"/>
          </a:solidFill>
          <a:effectLst/>
          <a:latin typeface="+mn-lt"/>
          <a:ea typeface="+mn-ea"/>
          <a:cs typeface="+mn-cs"/>
        </a:defRPr>
      </a:lvl1pPr>
      <a:lvl2pPr marL="557213" indent="-214313" algn="l" defTabSz="342900" rtl="0" eaLnBrk="1" latinLnBrk="0" hangingPunct="1">
        <a:spcBef>
          <a:spcPct val="20000"/>
        </a:spcBef>
        <a:spcAft>
          <a:spcPts val="450"/>
        </a:spcAft>
        <a:buClr>
          <a:schemeClr val="accent1">
            <a:lumMod val="75000"/>
          </a:schemeClr>
        </a:buClr>
        <a:buSzPct val="145000"/>
        <a:buFont typeface="Arial"/>
        <a:buChar char="•"/>
        <a:defRPr sz="1500" kern="1200" cap="none">
          <a:solidFill>
            <a:schemeClr val="tx1"/>
          </a:solidFill>
          <a:effectLst/>
          <a:latin typeface="+mn-lt"/>
          <a:ea typeface="+mn-ea"/>
          <a:cs typeface="+mn-cs"/>
        </a:defRPr>
      </a:lvl2pPr>
      <a:lvl3pPr marL="900113" indent="-214313" algn="l" defTabSz="342900" rtl="0" eaLnBrk="1" latinLnBrk="0" hangingPunct="1">
        <a:spcBef>
          <a:spcPct val="20000"/>
        </a:spcBef>
        <a:spcAft>
          <a:spcPts val="450"/>
        </a:spcAft>
        <a:buClr>
          <a:schemeClr val="accent1">
            <a:lumMod val="75000"/>
          </a:schemeClr>
        </a:buClr>
        <a:buSzPct val="145000"/>
        <a:buFont typeface="Arial"/>
        <a:buChar char="•"/>
        <a:defRPr sz="1350" kern="1200" cap="none">
          <a:solidFill>
            <a:schemeClr val="tx1"/>
          </a:solidFill>
          <a:effectLst/>
          <a:latin typeface="+mn-lt"/>
          <a:ea typeface="+mn-ea"/>
          <a:cs typeface="+mn-cs"/>
        </a:defRPr>
      </a:lvl3pPr>
      <a:lvl4pPr marL="1157288" indent="-128588" algn="l" defTabSz="342900" rtl="0" eaLnBrk="1" latinLnBrk="0" hangingPunct="1">
        <a:spcBef>
          <a:spcPct val="20000"/>
        </a:spcBef>
        <a:spcAft>
          <a:spcPts val="450"/>
        </a:spcAft>
        <a:buClr>
          <a:schemeClr val="accent1">
            <a:lumMod val="75000"/>
          </a:schemeClr>
        </a:buClr>
        <a:buSzPct val="145000"/>
        <a:buFont typeface="Arial"/>
        <a:buChar char="•"/>
        <a:defRPr sz="1200" kern="1200" cap="none">
          <a:solidFill>
            <a:schemeClr val="tx1"/>
          </a:solidFill>
          <a:effectLst/>
          <a:latin typeface="+mn-lt"/>
          <a:ea typeface="+mn-ea"/>
          <a:cs typeface="+mn-cs"/>
        </a:defRPr>
      </a:lvl4pPr>
      <a:lvl5pPr marL="1500188" indent="-128588" algn="l" defTabSz="342900" rtl="0" eaLnBrk="1" latinLnBrk="0" hangingPunct="1">
        <a:spcBef>
          <a:spcPct val="20000"/>
        </a:spcBef>
        <a:spcAft>
          <a:spcPts val="450"/>
        </a:spcAft>
        <a:buClr>
          <a:schemeClr val="accent1">
            <a:lumMod val="75000"/>
          </a:schemeClr>
        </a:buClr>
        <a:buSzPct val="145000"/>
        <a:buFont typeface="Arial"/>
        <a:buChar char="•"/>
        <a:defRPr sz="1050" kern="1200" cap="none">
          <a:solidFill>
            <a:schemeClr val="tx1"/>
          </a:solidFill>
          <a:effectLst/>
          <a:latin typeface="+mn-lt"/>
          <a:ea typeface="+mn-ea"/>
          <a:cs typeface="+mn-cs"/>
        </a:defRPr>
      </a:lvl5pPr>
      <a:lvl6pPr marL="1885950" indent="-171450" algn="l" defTabSz="342900" rtl="0" eaLnBrk="1" latinLnBrk="0" hangingPunct="1">
        <a:spcBef>
          <a:spcPct val="20000"/>
        </a:spcBef>
        <a:spcAft>
          <a:spcPts val="450"/>
        </a:spcAft>
        <a:buClr>
          <a:schemeClr val="accent1">
            <a:lumMod val="75000"/>
          </a:schemeClr>
        </a:buClr>
        <a:buSzPct val="145000"/>
        <a:buFont typeface="Arial"/>
        <a:buChar char="•"/>
        <a:defRPr sz="1050" kern="1200" cap="none">
          <a:solidFill>
            <a:schemeClr val="tx1"/>
          </a:solidFill>
          <a:effectLst/>
          <a:latin typeface="+mn-lt"/>
          <a:ea typeface="+mn-ea"/>
          <a:cs typeface="+mn-cs"/>
        </a:defRPr>
      </a:lvl6pPr>
      <a:lvl7pPr marL="2228850" indent="-171450" algn="l" defTabSz="342900" rtl="0" eaLnBrk="1" latinLnBrk="0" hangingPunct="1">
        <a:spcBef>
          <a:spcPct val="20000"/>
        </a:spcBef>
        <a:spcAft>
          <a:spcPts val="450"/>
        </a:spcAft>
        <a:buClr>
          <a:schemeClr val="accent1">
            <a:lumMod val="75000"/>
          </a:schemeClr>
        </a:buClr>
        <a:buSzPct val="145000"/>
        <a:buFont typeface="Arial"/>
        <a:buChar char="•"/>
        <a:defRPr sz="1050" kern="1200" cap="none">
          <a:solidFill>
            <a:schemeClr val="tx1"/>
          </a:solidFill>
          <a:effectLst/>
          <a:latin typeface="+mn-lt"/>
          <a:ea typeface="+mn-ea"/>
          <a:cs typeface="+mn-cs"/>
        </a:defRPr>
      </a:lvl7pPr>
      <a:lvl8pPr marL="2571750" indent="-171450" algn="l" defTabSz="342900" rtl="0" eaLnBrk="1" latinLnBrk="0" hangingPunct="1">
        <a:spcBef>
          <a:spcPct val="20000"/>
        </a:spcBef>
        <a:spcAft>
          <a:spcPts val="450"/>
        </a:spcAft>
        <a:buClr>
          <a:schemeClr val="accent1">
            <a:lumMod val="75000"/>
          </a:schemeClr>
        </a:buClr>
        <a:buSzPct val="145000"/>
        <a:buFont typeface="Arial"/>
        <a:buChar char="•"/>
        <a:defRPr sz="1050" kern="1200" cap="none">
          <a:solidFill>
            <a:schemeClr val="tx1"/>
          </a:solidFill>
          <a:effectLst/>
          <a:latin typeface="+mn-lt"/>
          <a:ea typeface="+mn-ea"/>
          <a:cs typeface="+mn-cs"/>
        </a:defRPr>
      </a:lvl8pPr>
      <a:lvl9pPr marL="2914650" indent="-171450" algn="l" defTabSz="342900" rtl="0" eaLnBrk="1" latinLnBrk="0" hangingPunct="1">
        <a:spcBef>
          <a:spcPct val="20000"/>
        </a:spcBef>
        <a:spcAft>
          <a:spcPts val="450"/>
        </a:spcAft>
        <a:buClr>
          <a:schemeClr val="accent1">
            <a:lumMod val="75000"/>
          </a:schemeClr>
        </a:buClr>
        <a:buSzPct val="145000"/>
        <a:buFont typeface="Arial"/>
        <a:buChar char="•"/>
        <a:defRPr sz="1050" kern="1200" cap="none">
          <a:solidFill>
            <a:schemeClr val="tx1"/>
          </a:solidFill>
          <a:effectLst/>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19.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1.png"/><Relationship Id="rId7" Type="http://schemas.openxmlformats.org/officeDocument/2006/relationships/image" Target="../media/image23.png"/><Relationship Id="rId12" Type="http://schemas.microsoft.com/office/2007/relationships/hdphoto" Target="../media/hdphoto5.wdp"/><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microsoft.com/office/2007/relationships/hdphoto" Target="../media/hdphoto2.wdp"/><Relationship Id="rId11" Type="http://schemas.openxmlformats.org/officeDocument/2006/relationships/image" Target="../media/image25.png"/><Relationship Id="rId5" Type="http://schemas.openxmlformats.org/officeDocument/2006/relationships/image" Target="../media/image22.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89000">
              <a:srgbClr val="EBA903"/>
            </a:gs>
            <a:gs pos="100000">
              <a:schemeClr val="accent2">
                <a:lumMod val="97000"/>
                <a:lumOff val="3000"/>
              </a:schemeClr>
            </a:gs>
            <a:gs pos="100000">
              <a:schemeClr val="accent2">
                <a:lumMod val="60000"/>
                <a:lumOff val="40000"/>
              </a:schemeClr>
            </a:gs>
          </a:gsLst>
          <a:lin ang="16200000" scaled="1"/>
        </a:gradFill>
        <a:effectLst/>
      </p:bgPr>
    </p:bg>
    <p:spTree>
      <p:nvGrpSpPr>
        <p:cNvPr id="1" name="Shape 126"/>
        <p:cNvGrpSpPr/>
        <p:nvPr/>
      </p:nvGrpSpPr>
      <p:grpSpPr>
        <a:xfrm>
          <a:off x="0" y="0"/>
          <a:ext cx="0" cy="0"/>
          <a:chOff x="0" y="0"/>
          <a:chExt cx="0" cy="0"/>
        </a:xfrm>
      </p:grpSpPr>
      <p:sp>
        <p:nvSpPr>
          <p:cNvPr id="128" name="Google Shape;128;p28"/>
          <p:cNvSpPr txBox="1">
            <a:spLocks noGrp="1"/>
          </p:cNvSpPr>
          <p:nvPr>
            <p:ph type="ctrTitle"/>
          </p:nvPr>
        </p:nvSpPr>
        <p:spPr>
          <a:xfrm>
            <a:off x="602074" y="2701715"/>
            <a:ext cx="4951376" cy="907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GB" sz="4000" dirty="0">
                <a:solidFill>
                  <a:schemeClr val="bg1"/>
                </a:solidFill>
                <a:latin typeface="Anta" pitchFamily="2" charset="0"/>
              </a:rPr>
              <a:t>UAE E-Invoicing Enablement</a:t>
            </a:r>
            <a:br>
              <a:rPr lang="en-GB" sz="3600" dirty="0">
                <a:solidFill>
                  <a:srgbClr val="E6E8FF"/>
                </a:solidFill>
                <a:latin typeface="Anta" pitchFamily="2" charset="0"/>
              </a:rPr>
            </a:br>
            <a:r>
              <a:rPr lang="en-GB" sz="2400" dirty="0">
                <a:solidFill>
                  <a:schemeClr val="bg2"/>
                </a:solidFill>
                <a:latin typeface="Anta" pitchFamily="2" charset="0"/>
              </a:rPr>
              <a:t>Building the Operating Model for the UAE Vision 2031</a:t>
            </a:r>
            <a:endParaRPr sz="2400" dirty="0">
              <a:solidFill>
                <a:schemeClr val="bg2"/>
              </a:solidFill>
              <a:latin typeface="Anta" pitchFamily="2" charset="0"/>
            </a:endParaRPr>
          </a:p>
        </p:txBody>
      </p:sp>
      <p:cxnSp>
        <p:nvCxnSpPr>
          <p:cNvPr id="130" name="Google Shape;130;p28"/>
          <p:cNvCxnSpPr/>
          <p:nvPr/>
        </p:nvCxnSpPr>
        <p:spPr>
          <a:xfrm>
            <a:off x="1430700" y="4800200"/>
            <a:ext cx="8245500" cy="0"/>
          </a:xfrm>
          <a:prstGeom prst="straightConnector1">
            <a:avLst/>
          </a:prstGeom>
          <a:noFill/>
          <a:ln w="9525" cap="flat" cmpd="sng">
            <a:solidFill>
              <a:schemeClr val="dk1"/>
            </a:solidFill>
            <a:prstDash val="solid"/>
            <a:round/>
            <a:headEnd type="none" w="med" len="med"/>
            <a:tailEnd type="none" w="med" len="med"/>
          </a:ln>
        </p:spPr>
      </p:cxnSp>
    </p:spTree>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38000">
              <a:srgbClr val="FFC000"/>
            </a:gs>
            <a:gs pos="100000">
              <a:schemeClr val="accent3">
                <a:lumMod val="45000"/>
                <a:lumOff val="55000"/>
              </a:schemeClr>
            </a:gs>
            <a:gs pos="83000">
              <a:schemeClr val="accent3">
                <a:lumMod val="45000"/>
                <a:lumOff val="55000"/>
              </a:schemeClr>
            </a:gs>
            <a:gs pos="100000">
              <a:schemeClr val="accent3">
                <a:lumMod val="30000"/>
                <a:lumOff val="70000"/>
              </a:schemeClr>
            </a:gs>
          </a:gsLst>
          <a:lin ang="5400000" scaled="1"/>
        </a:gradFill>
        <a:effectLst/>
      </p:bgPr>
    </p:bg>
    <p:spTree>
      <p:nvGrpSpPr>
        <p:cNvPr id="1" name="Shape 156">
          <a:extLst>
            <a:ext uri="{FF2B5EF4-FFF2-40B4-BE49-F238E27FC236}">
              <a16:creationId xmlns:a16="http://schemas.microsoft.com/office/drawing/2014/main" id="{0DB14125-C5A1-7C2D-6508-479EB9678C4B}"/>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B48D985B-B0A1-0124-1677-64C83B6526FD}"/>
              </a:ext>
            </a:extLst>
          </p:cNvPr>
          <p:cNvSpPr txBox="1"/>
          <p:nvPr/>
        </p:nvSpPr>
        <p:spPr>
          <a:xfrm>
            <a:off x="372084" y="514350"/>
            <a:ext cx="2057400" cy="3829050"/>
          </a:xfrm>
          <a:prstGeom prst="rect">
            <a:avLst/>
          </a:prstGeom>
        </p:spPr>
        <p:txBody>
          <a:bodyPr vert="horz" lIns="91440" tIns="45720" rIns="91440" bIns="45720" rtlCol="0" anchor="ctr">
            <a:normAutofit/>
          </a:bodyPr>
          <a:lstStyle/>
          <a:p>
            <a:pPr>
              <a:spcBef>
                <a:spcPct val="0"/>
              </a:spcBef>
              <a:spcAft>
                <a:spcPts val="600"/>
              </a:spcAft>
            </a:pPr>
            <a:r>
              <a:rPr lang="en-US" sz="2400">
                <a:ln w="3175" cmpd="sng">
                  <a:noFill/>
                </a:ln>
                <a:solidFill>
                  <a:srgbClr val="FFFFFF"/>
                </a:solidFill>
                <a:latin typeface="+mj-lt"/>
                <a:ea typeface="+mj-ea"/>
                <a:cs typeface="+mj-cs"/>
              </a:rPr>
              <a:t>“</a:t>
            </a:r>
          </a:p>
        </p:txBody>
      </p:sp>
      <p:sp>
        <p:nvSpPr>
          <p:cNvPr id="8" name="Rectangle 7">
            <a:extLst>
              <a:ext uri="{FF2B5EF4-FFF2-40B4-BE49-F238E27FC236}">
                <a16:creationId xmlns:a16="http://schemas.microsoft.com/office/drawing/2014/main" id="{7998D490-7FB4-93DA-3067-F251CC94884D}"/>
              </a:ext>
            </a:extLst>
          </p:cNvPr>
          <p:cNvSpPr/>
          <p:nvPr/>
        </p:nvSpPr>
        <p:spPr>
          <a:xfrm>
            <a:off x="1472339" y="514349"/>
            <a:ext cx="7154930" cy="40886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indent="-228600">
              <a:lnSpc>
                <a:spcPct val="90000"/>
              </a:lnSpc>
              <a:spcBef>
                <a:spcPct val="20000"/>
              </a:spcBef>
              <a:spcAft>
                <a:spcPts val="600"/>
              </a:spcAft>
              <a:buClr>
                <a:schemeClr val="accent1">
                  <a:lumMod val="75000"/>
                </a:schemeClr>
              </a:buClr>
              <a:buSzPct val="145000"/>
              <a:buFont typeface="Arial"/>
              <a:buChar char="•"/>
            </a:pPr>
            <a:endParaRPr lang="en-US" sz="800" i="1" dirty="0">
              <a:solidFill>
                <a:schemeClr val="tx1"/>
              </a:solidFill>
            </a:endParaRPr>
          </a:p>
          <a:p>
            <a:pPr indent="-228600">
              <a:lnSpc>
                <a:spcPct val="90000"/>
              </a:lnSpc>
              <a:spcBef>
                <a:spcPct val="20000"/>
              </a:spcBef>
              <a:spcAft>
                <a:spcPts val="600"/>
              </a:spcAft>
              <a:buClr>
                <a:schemeClr val="accent1">
                  <a:lumMod val="75000"/>
                </a:schemeClr>
              </a:buClr>
              <a:buSzPct val="145000"/>
              <a:buFont typeface="Arial"/>
              <a:buChar char="•"/>
            </a:pPr>
            <a:r>
              <a:rPr lang="en-US" sz="1020" i="1" dirty="0">
                <a:solidFill>
                  <a:srgbClr val="0C0819"/>
                </a:solidFill>
              </a:rPr>
              <a:t>The </a:t>
            </a:r>
            <a:r>
              <a:rPr lang="en-US" sz="1020" b="1" i="1" dirty="0">
                <a:solidFill>
                  <a:srgbClr val="0C0819"/>
                </a:solidFill>
              </a:rPr>
              <a:t>UAE’s Vision 2031 </a:t>
            </a:r>
            <a:r>
              <a:rPr lang="en-US" sz="1020" i="1" dirty="0">
                <a:solidFill>
                  <a:srgbClr val="0C0819"/>
                </a:solidFill>
              </a:rPr>
              <a:t>is not only redefining regulation, it is reshaping how enterprises operate, transact and govern data. </a:t>
            </a:r>
            <a:r>
              <a:rPr lang="en-US" sz="1020" b="1" i="1" dirty="0">
                <a:solidFill>
                  <a:srgbClr val="0C0819"/>
                </a:solidFill>
              </a:rPr>
              <a:t>E-invoicing</a:t>
            </a:r>
            <a:r>
              <a:rPr lang="en-US" sz="1020" i="1" dirty="0">
                <a:solidFill>
                  <a:srgbClr val="0C0819"/>
                </a:solidFill>
              </a:rPr>
              <a:t> is a foundational pillar of this vision, designed to move the economy toward transparency, real-time reporting and digitally native finance. This transition is not a tax initiative in isolation. It represents a structural shift in enterprise operating models, impacting ERP design, transaction flows, controls, data ownership and decision-making across Finance, Tax, IT and Operations. </a:t>
            </a:r>
          </a:p>
          <a:p>
            <a:pPr indent="-228600">
              <a:lnSpc>
                <a:spcPct val="90000"/>
              </a:lnSpc>
              <a:spcBef>
                <a:spcPct val="20000"/>
              </a:spcBef>
              <a:spcAft>
                <a:spcPts val="600"/>
              </a:spcAft>
              <a:buClr>
                <a:schemeClr val="accent1">
                  <a:lumMod val="75000"/>
                </a:schemeClr>
              </a:buClr>
              <a:buSzPct val="145000"/>
              <a:buFont typeface="Arial"/>
              <a:buChar char="•"/>
            </a:pPr>
            <a:endParaRPr lang="en-US" sz="1020" i="1" dirty="0">
              <a:solidFill>
                <a:srgbClr val="0C0819"/>
              </a:solidFill>
            </a:endParaRPr>
          </a:p>
          <a:p>
            <a:pPr indent="-228600">
              <a:lnSpc>
                <a:spcPct val="90000"/>
              </a:lnSpc>
              <a:spcBef>
                <a:spcPct val="20000"/>
              </a:spcBef>
              <a:spcAft>
                <a:spcPts val="600"/>
              </a:spcAft>
              <a:buClr>
                <a:schemeClr val="accent1">
                  <a:lumMod val="75000"/>
                </a:schemeClr>
              </a:buClr>
              <a:buSzPct val="145000"/>
              <a:buFont typeface="Arial"/>
              <a:buChar char="•"/>
            </a:pPr>
            <a:r>
              <a:rPr lang="en-US" sz="1020" i="1" dirty="0">
                <a:solidFill>
                  <a:srgbClr val="0C0819"/>
                </a:solidFill>
              </a:rPr>
              <a:t>The UAE’s 5-corner decentralized e-invoicing model is among the most advanced globally and distinct within the GCC. Its architecture places responsibility, validation, and accountability across multiple stakeholders in real time, making fragmented, system-by-system compliance approaches unsustainable. Success in this environment demands more than technical connectivity. </a:t>
            </a:r>
          </a:p>
          <a:p>
            <a:pPr indent="-228600">
              <a:lnSpc>
                <a:spcPct val="90000"/>
              </a:lnSpc>
              <a:spcBef>
                <a:spcPct val="20000"/>
              </a:spcBef>
              <a:spcAft>
                <a:spcPts val="600"/>
              </a:spcAft>
              <a:buClr>
                <a:schemeClr val="accent1">
                  <a:lumMod val="75000"/>
                </a:schemeClr>
              </a:buClr>
              <a:buSzPct val="145000"/>
              <a:buFont typeface="Arial"/>
              <a:buChar char="•"/>
            </a:pPr>
            <a:endParaRPr lang="en-US" sz="1020" i="1" dirty="0">
              <a:solidFill>
                <a:srgbClr val="0C0819"/>
              </a:solidFill>
            </a:endParaRPr>
          </a:p>
          <a:p>
            <a:pPr indent="-228600">
              <a:lnSpc>
                <a:spcPct val="90000"/>
              </a:lnSpc>
              <a:spcBef>
                <a:spcPct val="20000"/>
              </a:spcBef>
              <a:spcAft>
                <a:spcPts val="600"/>
              </a:spcAft>
              <a:buClr>
                <a:schemeClr val="accent1">
                  <a:lumMod val="75000"/>
                </a:schemeClr>
              </a:buClr>
              <a:buSzPct val="145000"/>
              <a:buFont typeface="Arial"/>
              <a:buChar char="•"/>
            </a:pPr>
            <a:r>
              <a:rPr lang="en-US" sz="1020" dirty="0">
                <a:solidFill>
                  <a:srgbClr val="0C0819"/>
                </a:solidFill>
              </a:rPr>
              <a:t>It requires:</a:t>
            </a:r>
          </a:p>
          <a:p>
            <a:pPr marL="171450" indent="-228600">
              <a:lnSpc>
                <a:spcPct val="90000"/>
              </a:lnSpc>
              <a:spcBef>
                <a:spcPct val="20000"/>
              </a:spcBef>
              <a:spcAft>
                <a:spcPts val="600"/>
              </a:spcAft>
              <a:buClr>
                <a:schemeClr val="accent1">
                  <a:lumMod val="75000"/>
                </a:schemeClr>
              </a:buClr>
              <a:buSzPct val="145000"/>
              <a:buFont typeface="Arial"/>
              <a:buChar char="•"/>
            </a:pPr>
            <a:r>
              <a:rPr lang="en-US" sz="1020" dirty="0">
                <a:solidFill>
                  <a:srgbClr val="0C0819"/>
                </a:solidFill>
              </a:rPr>
              <a:t>Early impact assessment across systems and processes</a:t>
            </a:r>
          </a:p>
          <a:p>
            <a:pPr marL="171450" indent="-228600">
              <a:lnSpc>
                <a:spcPct val="90000"/>
              </a:lnSpc>
              <a:spcBef>
                <a:spcPct val="20000"/>
              </a:spcBef>
              <a:spcAft>
                <a:spcPts val="600"/>
              </a:spcAft>
              <a:buClr>
                <a:schemeClr val="accent1">
                  <a:lumMod val="75000"/>
                </a:schemeClr>
              </a:buClr>
              <a:buSzPct val="145000"/>
              <a:buFont typeface="Arial"/>
              <a:buChar char="•"/>
            </a:pPr>
            <a:r>
              <a:rPr lang="en-US" sz="1020" dirty="0">
                <a:solidFill>
                  <a:srgbClr val="0C0819"/>
                </a:solidFill>
              </a:rPr>
              <a:t>Strong Tax, IT &amp; Finance governance</a:t>
            </a:r>
          </a:p>
          <a:p>
            <a:pPr marL="171450" indent="-228600">
              <a:lnSpc>
                <a:spcPct val="90000"/>
              </a:lnSpc>
              <a:spcBef>
                <a:spcPct val="20000"/>
              </a:spcBef>
              <a:spcAft>
                <a:spcPts val="600"/>
              </a:spcAft>
              <a:buClr>
                <a:schemeClr val="accent1">
                  <a:lumMod val="75000"/>
                </a:schemeClr>
              </a:buClr>
              <a:buSzPct val="145000"/>
              <a:buFont typeface="Arial"/>
              <a:buChar char="•"/>
            </a:pPr>
            <a:r>
              <a:rPr lang="en-US" sz="1020" dirty="0">
                <a:solidFill>
                  <a:srgbClr val="0C0819"/>
                </a:solidFill>
              </a:rPr>
              <a:t>Thoughtful ASP selection aligned to enterprise scale and complexity</a:t>
            </a:r>
          </a:p>
          <a:p>
            <a:pPr marL="171450" indent="-228600">
              <a:lnSpc>
                <a:spcPct val="90000"/>
              </a:lnSpc>
              <a:spcBef>
                <a:spcPct val="20000"/>
              </a:spcBef>
              <a:spcAft>
                <a:spcPts val="600"/>
              </a:spcAft>
              <a:buClr>
                <a:schemeClr val="accent1">
                  <a:lumMod val="75000"/>
                </a:schemeClr>
              </a:buClr>
              <a:buSzPct val="145000"/>
              <a:buFont typeface="Arial"/>
              <a:buChar char="•"/>
            </a:pPr>
            <a:r>
              <a:rPr lang="en-US" sz="1020" dirty="0">
                <a:solidFill>
                  <a:srgbClr val="0C0819"/>
                </a:solidFill>
              </a:rPr>
              <a:t>A long-term operating model, not a short-term compliance fix</a:t>
            </a:r>
          </a:p>
          <a:p>
            <a:pPr indent="-228600">
              <a:lnSpc>
                <a:spcPct val="90000"/>
              </a:lnSpc>
              <a:spcBef>
                <a:spcPct val="20000"/>
              </a:spcBef>
              <a:spcAft>
                <a:spcPts val="600"/>
              </a:spcAft>
              <a:buClr>
                <a:schemeClr val="accent1">
                  <a:lumMod val="75000"/>
                </a:schemeClr>
              </a:buClr>
              <a:buSzPct val="145000"/>
              <a:buFont typeface="Arial"/>
              <a:buChar char="•"/>
            </a:pPr>
            <a:endParaRPr lang="en-US" sz="1020" dirty="0">
              <a:solidFill>
                <a:srgbClr val="0C0819"/>
              </a:solidFill>
            </a:endParaRPr>
          </a:p>
          <a:p>
            <a:pPr indent="-228600">
              <a:lnSpc>
                <a:spcPct val="90000"/>
              </a:lnSpc>
              <a:spcBef>
                <a:spcPct val="20000"/>
              </a:spcBef>
              <a:spcAft>
                <a:spcPts val="600"/>
              </a:spcAft>
              <a:buClr>
                <a:schemeClr val="accent1">
                  <a:lumMod val="75000"/>
                </a:schemeClr>
              </a:buClr>
              <a:buSzPct val="145000"/>
              <a:buFont typeface="Arial"/>
              <a:buChar char="•"/>
            </a:pPr>
            <a:r>
              <a:rPr lang="en-US" sz="1020" dirty="0">
                <a:solidFill>
                  <a:srgbClr val="0C0819"/>
                </a:solidFill>
              </a:rPr>
              <a:t>E-invoicing in the UAE is a multi-year transformation journey. Enterprises that approach it with clarity, coordination, and the right partners will not only achieve compliance, they will unlock faster billing cycles, stronger controls, and richer transactional intelligence. </a:t>
            </a:r>
            <a:endParaRPr lang="en-US" sz="1020" i="1" dirty="0">
              <a:solidFill>
                <a:srgbClr val="0C0819"/>
              </a:solidFill>
            </a:endParaRPr>
          </a:p>
        </p:txBody>
      </p:sp>
    </p:spTree>
    <p:extLst>
      <p:ext uri="{BB962C8B-B14F-4D97-AF65-F5344CB8AC3E}">
        <p14:creationId xmlns:p14="http://schemas.microsoft.com/office/powerpoint/2010/main" val="3234870340"/>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8000">
              <a:srgbClr val="FFC000"/>
            </a:gs>
            <a:gs pos="100000">
              <a:schemeClr val="accent3">
                <a:lumMod val="45000"/>
                <a:lumOff val="55000"/>
              </a:schemeClr>
            </a:gs>
            <a:gs pos="83000">
              <a:schemeClr val="accent3">
                <a:lumMod val="45000"/>
                <a:lumOff val="55000"/>
              </a:schemeClr>
            </a:gs>
            <a:gs pos="100000">
              <a:schemeClr val="accent3">
                <a:lumMod val="30000"/>
                <a:lumOff val="70000"/>
              </a:schemeClr>
            </a:gs>
          </a:gsLst>
          <a:lin ang="5400000" scaled="1"/>
        </a:gradFill>
        <a:effectLst/>
      </p:bgPr>
    </p:bg>
    <p:spTree>
      <p:nvGrpSpPr>
        <p:cNvPr id="1" name="">
          <a:extLst>
            <a:ext uri="{FF2B5EF4-FFF2-40B4-BE49-F238E27FC236}">
              <a16:creationId xmlns:a16="http://schemas.microsoft.com/office/drawing/2014/main" id="{686CD3AF-3D7F-73C8-9593-E9CA405412B6}"/>
            </a:ext>
          </a:extLst>
        </p:cNvPr>
        <p:cNvGrpSpPr/>
        <p:nvPr/>
      </p:nvGrpSpPr>
      <p:grpSpPr>
        <a:xfrm>
          <a:off x="0" y="0"/>
          <a:ext cx="0" cy="0"/>
          <a:chOff x="0" y="0"/>
          <a:chExt cx="0" cy="0"/>
        </a:xfrm>
      </p:grpSpPr>
      <p:sp>
        <p:nvSpPr>
          <p:cNvPr id="4" name="Title 9">
            <a:extLst>
              <a:ext uri="{FF2B5EF4-FFF2-40B4-BE49-F238E27FC236}">
                <a16:creationId xmlns:a16="http://schemas.microsoft.com/office/drawing/2014/main" id="{E07F739C-B4FF-6CDA-6EA4-4AB74628D005}"/>
              </a:ext>
            </a:extLst>
          </p:cNvPr>
          <p:cNvSpPr>
            <a:spLocks noGrp="1"/>
          </p:cNvSpPr>
          <p:nvPr>
            <p:ph type="title"/>
          </p:nvPr>
        </p:nvSpPr>
        <p:spPr>
          <a:xfrm>
            <a:off x="191461" y="332997"/>
            <a:ext cx="8262937" cy="400050"/>
          </a:xfrm>
        </p:spPr>
        <p:txBody>
          <a:bodyPr>
            <a:normAutofit fontScale="90000"/>
          </a:bodyPr>
          <a:lstStyle/>
          <a:p>
            <a:r>
              <a:rPr lang="en-GB" dirty="0">
                <a:latin typeface="Anta" panose="020B0604020202020204" charset="0"/>
              </a:rPr>
              <a:t>Quick snapshot</a:t>
            </a:r>
          </a:p>
        </p:txBody>
      </p:sp>
      <p:grpSp>
        <p:nvGrpSpPr>
          <p:cNvPr id="12" name="Group 11">
            <a:extLst>
              <a:ext uri="{FF2B5EF4-FFF2-40B4-BE49-F238E27FC236}">
                <a16:creationId xmlns:a16="http://schemas.microsoft.com/office/drawing/2014/main" id="{23B2F371-ED46-CDCA-B5CF-BB77C24AF901}"/>
              </a:ext>
            </a:extLst>
          </p:cNvPr>
          <p:cNvGrpSpPr/>
          <p:nvPr/>
        </p:nvGrpSpPr>
        <p:grpSpPr>
          <a:xfrm>
            <a:off x="2864285" y="518526"/>
            <a:ext cx="3001500" cy="4329214"/>
            <a:chOff x="5079311" y="1440515"/>
            <a:chExt cx="7991378" cy="6851174"/>
          </a:xfrm>
        </p:grpSpPr>
        <p:sp>
          <p:nvSpPr>
            <p:cNvPr id="13" name="Freeform: Shape 12">
              <a:extLst>
                <a:ext uri="{FF2B5EF4-FFF2-40B4-BE49-F238E27FC236}">
                  <a16:creationId xmlns:a16="http://schemas.microsoft.com/office/drawing/2014/main" id="{DA6A4C50-F5E0-C4EE-355D-5257CFDD21A0}"/>
                </a:ext>
              </a:extLst>
            </p:cNvPr>
            <p:cNvSpPr/>
            <p:nvPr/>
          </p:nvSpPr>
          <p:spPr>
            <a:xfrm>
              <a:off x="5079311" y="1440515"/>
              <a:ext cx="7991378" cy="6851174"/>
            </a:xfrm>
            <a:custGeom>
              <a:avLst/>
              <a:gdLst>
                <a:gd name="connsiteX0" fmla="*/ 2111443 w 7991378"/>
                <a:gd name="connsiteY0" fmla="*/ -127 h 6851174"/>
                <a:gd name="connsiteX1" fmla="*/ 2107331 w 7991378"/>
                <a:gd name="connsiteY1" fmla="*/ 36877 h 6851174"/>
                <a:gd name="connsiteX2" fmla="*/ 1819526 w 7991378"/>
                <a:gd name="connsiteY2" fmla="*/ 119107 h 6851174"/>
                <a:gd name="connsiteX3" fmla="*/ 3649148 w 7991378"/>
                <a:gd name="connsiteY3" fmla="*/ 263010 h 6851174"/>
                <a:gd name="connsiteX4" fmla="*/ 3583364 w 7991378"/>
                <a:gd name="connsiteY4" fmla="*/ 550815 h 6851174"/>
                <a:gd name="connsiteX5" fmla="*/ 2259457 w 7991378"/>
                <a:gd name="connsiteY5" fmla="*/ 887959 h 6851174"/>
                <a:gd name="connsiteX6" fmla="*/ 2333465 w 7991378"/>
                <a:gd name="connsiteY6" fmla="*/ 1118204 h 6851174"/>
                <a:gd name="connsiteX7" fmla="*/ 7990904 w 7991378"/>
                <a:gd name="connsiteY7" fmla="*/ 3395981 h 6851174"/>
                <a:gd name="connsiteX8" fmla="*/ 5486993 w 7991378"/>
                <a:gd name="connsiteY8" fmla="*/ 6851048 h 6851174"/>
                <a:gd name="connsiteX9" fmla="*/ -476 w 7991378"/>
                <a:gd name="connsiteY9" fmla="*/ 6851048 h 6851174"/>
                <a:gd name="connsiteX10" fmla="*/ 4989501 w 7991378"/>
                <a:gd name="connsiteY10" fmla="*/ 3478211 h 6851174"/>
                <a:gd name="connsiteX11" fmla="*/ 4496119 w 7991378"/>
                <a:gd name="connsiteY11" fmla="*/ 2376326 h 6851174"/>
                <a:gd name="connsiteX12" fmla="*/ 1206911 w 7991378"/>
                <a:gd name="connsiteY12" fmla="*/ 1537578 h 6851174"/>
                <a:gd name="connsiteX13" fmla="*/ 1248026 w 7991378"/>
                <a:gd name="connsiteY13" fmla="*/ 682384 h 6851174"/>
                <a:gd name="connsiteX14" fmla="*/ 2728170 w 7991378"/>
                <a:gd name="connsiteY14" fmla="*/ 394578 h 6851174"/>
                <a:gd name="connsiteX15" fmla="*/ 1198688 w 7991378"/>
                <a:gd name="connsiteY15" fmla="*/ 197226 h 6851174"/>
                <a:gd name="connsiteX16" fmla="*/ 1280918 w 7991378"/>
                <a:gd name="connsiteY16" fmla="*/ 49211 h 6851174"/>
                <a:gd name="connsiteX17" fmla="*/ 2111443 w 7991378"/>
                <a:gd name="connsiteY17" fmla="*/ -127 h 68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91378" h="6851174">
                  <a:moveTo>
                    <a:pt x="2111443" y="-127"/>
                  </a:moveTo>
                  <a:cubicBezTo>
                    <a:pt x="2111443" y="-127"/>
                    <a:pt x="2161357" y="18704"/>
                    <a:pt x="2107331" y="36877"/>
                  </a:cubicBezTo>
                  <a:cubicBezTo>
                    <a:pt x="2018605" y="66726"/>
                    <a:pt x="1809329" y="103812"/>
                    <a:pt x="1819526" y="119107"/>
                  </a:cubicBezTo>
                  <a:cubicBezTo>
                    <a:pt x="1835972" y="143776"/>
                    <a:pt x="3344896" y="197226"/>
                    <a:pt x="3649148" y="263010"/>
                  </a:cubicBezTo>
                  <a:cubicBezTo>
                    <a:pt x="3953400" y="328794"/>
                    <a:pt x="3978069" y="452139"/>
                    <a:pt x="3583364" y="550815"/>
                  </a:cubicBezTo>
                  <a:cubicBezTo>
                    <a:pt x="3188659" y="649492"/>
                    <a:pt x="2440364" y="797506"/>
                    <a:pt x="2259457" y="887959"/>
                  </a:cubicBezTo>
                  <a:cubicBezTo>
                    <a:pt x="2078551" y="978413"/>
                    <a:pt x="2002241" y="1021008"/>
                    <a:pt x="2333465" y="1118204"/>
                  </a:cubicBezTo>
                  <a:cubicBezTo>
                    <a:pt x="2950191" y="1299110"/>
                    <a:pt x="7990904" y="1562247"/>
                    <a:pt x="7990904" y="3395981"/>
                  </a:cubicBezTo>
                  <a:cubicBezTo>
                    <a:pt x="7990904" y="4884348"/>
                    <a:pt x="5486993" y="6851048"/>
                    <a:pt x="5486993" y="6851048"/>
                  </a:cubicBezTo>
                  <a:lnTo>
                    <a:pt x="-476" y="6851048"/>
                  </a:lnTo>
                  <a:cubicBezTo>
                    <a:pt x="-476" y="6851048"/>
                    <a:pt x="4380997" y="4086715"/>
                    <a:pt x="4989501" y="3478211"/>
                  </a:cubicBezTo>
                  <a:cubicBezTo>
                    <a:pt x="5598004" y="2869708"/>
                    <a:pt x="4833263" y="2540787"/>
                    <a:pt x="4496119" y="2376326"/>
                  </a:cubicBezTo>
                  <a:cubicBezTo>
                    <a:pt x="4158975" y="2211866"/>
                    <a:pt x="2366932" y="1831551"/>
                    <a:pt x="1206911" y="1537578"/>
                  </a:cubicBezTo>
                  <a:cubicBezTo>
                    <a:pt x="314713" y="1311445"/>
                    <a:pt x="779313" y="797506"/>
                    <a:pt x="1248026" y="682384"/>
                  </a:cubicBezTo>
                  <a:cubicBezTo>
                    <a:pt x="1716738" y="567262"/>
                    <a:pt x="2703501" y="460362"/>
                    <a:pt x="2728170" y="394578"/>
                  </a:cubicBezTo>
                  <a:cubicBezTo>
                    <a:pt x="2752839" y="328794"/>
                    <a:pt x="1374002" y="255691"/>
                    <a:pt x="1198688" y="197226"/>
                  </a:cubicBezTo>
                  <a:cubicBezTo>
                    <a:pt x="1050673" y="147887"/>
                    <a:pt x="1149349" y="65657"/>
                    <a:pt x="1280918" y="49211"/>
                  </a:cubicBezTo>
                  <a:cubicBezTo>
                    <a:pt x="1403605" y="33916"/>
                    <a:pt x="2111443" y="-127"/>
                    <a:pt x="2111443" y="-127"/>
                  </a:cubicBezTo>
                  <a:close/>
                </a:path>
              </a:pathLst>
            </a:custGeom>
            <a:solidFill>
              <a:schemeClr val="tx1">
                <a:lumMod val="50000"/>
                <a:lumOff val="50000"/>
              </a:schemeClr>
            </a:solidFill>
            <a:ln w="822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4" name="Freeform: Shape 13">
              <a:extLst>
                <a:ext uri="{FF2B5EF4-FFF2-40B4-BE49-F238E27FC236}">
                  <a16:creationId xmlns:a16="http://schemas.microsoft.com/office/drawing/2014/main" id="{E41A7F52-B6EA-1AE3-525A-67A85D355528}"/>
                </a:ext>
              </a:extLst>
            </p:cNvPr>
            <p:cNvSpPr/>
            <p:nvPr/>
          </p:nvSpPr>
          <p:spPr>
            <a:xfrm>
              <a:off x="6238388" y="1440515"/>
              <a:ext cx="5570824" cy="6851174"/>
            </a:xfrm>
            <a:custGeom>
              <a:avLst/>
              <a:gdLst>
                <a:gd name="connsiteX0" fmla="*/ 952365 w 5570824"/>
                <a:gd name="connsiteY0" fmla="*/ -127 h 6851174"/>
                <a:gd name="connsiteX1" fmla="*/ 228739 w 5570824"/>
                <a:gd name="connsiteY1" fmla="*/ 131441 h 6851174"/>
                <a:gd name="connsiteX2" fmla="*/ 2235157 w 5570824"/>
                <a:gd name="connsiteY2" fmla="*/ 345240 h 6851174"/>
                <a:gd name="connsiteX3" fmla="*/ 14941 w 5570824"/>
                <a:gd name="connsiteY3" fmla="*/ 1077089 h 6851174"/>
                <a:gd name="connsiteX4" fmla="*/ 5499697 w 5570824"/>
                <a:gd name="connsiteY4" fmla="*/ 2943715 h 6851174"/>
                <a:gd name="connsiteX5" fmla="*/ 1449858 w 5570824"/>
                <a:gd name="connsiteY5" fmla="*/ 6851048 h 68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0824" h="6851174">
                  <a:moveTo>
                    <a:pt x="952365" y="-127"/>
                  </a:moveTo>
                  <a:cubicBezTo>
                    <a:pt x="952365" y="-127"/>
                    <a:pt x="319193" y="82103"/>
                    <a:pt x="228739" y="131441"/>
                  </a:cubicBezTo>
                  <a:cubicBezTo>
                    <a:pt x="138286" y="180779"/>
                    <a:pt x="2128258" y="254787"/>
                    <a:pt x="2235157" y="345240"/>
                  </a:cubicBezTo>
                  <a:cubicBezTo>
                    <a:pt x="2342056" y="435693"/>
                    <a:pt x="307516" y="745126"/>
                    <a:pt x="14941" y="1077089"/>
                  </a:cubicBezTo>
                  <a:cubicBezTo>
                    <a:pt x="-314967" y="1451483"/>
                    <a:pt x="4751402" y="1653523"/>
                    <a:pt x="5499697" y="2943715"/>
                  </a:cubicBezTo>
                  <a:cubicBezTo>
                    <a:pt x="6201038" y="4153321"/>
                    <a:pt x="1449858" y="6851048"/>
                    <a:pt x="1449858" y="6851048"/>
                  </a:cubicBezTo>
                </a:path>
              </a:pathLst>
            </a:custGeom>
            <a:ln w="12700">
              <a:solidFill>
                <a:schemeClr val="bg1"/>
              </a:solidFill>
              <a:prstDash val="lgDash"/>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grpSp>
        <p:nvGrpSpPr>
          <p:cNvPr id="17" name="Group 16">
            <a:extLst>
              <a:ext uri="{FF2B5EF4-FFF2-40B4-BE49-F238E27FC236}">
                <a16:creationId xmlns:a16="http://schemas.microsoft.com/office/drawing/2014/main" id="{69C00614-B587-BCA7-9BC7-C87A24D7DB72}"/>
              </a:ext>
            </a:extLst>
          </p:cNvPr>
          <p:cNvGrpSpPr/>
          <p:nvPr/>
        </p:nvGrpSpPr>
        <p:grpSpPr>
          <a:xfrm>
            <a:off x="2684230" y="4253553"/>
            <a:ext cx="284028" cy="410375"/>
            <a:chOff x="4325052" y="4128862"/>
            <a:chExt cx="4258379" cy="6086389"/>
          </a:xfrm>
          <a:solidFill>
            <a:srgbClr val="FF0000"/>
          </a:solidFill>
        </p:grpSpPr>
        <p:sp>
          <p:nvSpPr>
            <p:cNvPr id="18" name="Freeform: Shape 17">
              <a:extLst>
                <a:ext uri="{FF2B5EF4-FFF2-40B4-BE49-F238E27FC236}">
                  <a16:creationId xmlns:a16="http://schemas.microsoft.com/office/drawing/2014/main" id="{ED0E7820-AD7B-2718-8C4A-9BD7DA349A57}"/>
                </a:ext>
              </a:extLst>
            </p:cNvPr>
            <p:cNvSpPr/>
            <p:nvPr/>
          </p:nvSpPr>
          <p:spPr>
            <a:xfrm>
              <a:off x="4707175" y="4457616"/>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19" name="Graphic 17">
              <a:extLst>
                <a:ext uri="{FF2B5EF4-FFF2-40B4-BE49-F238E27FC236}">
                  <a16:creationId xmlns:a16="http://schemas.microsoft.com/office/drawing/2014/main" id="{C3A79347-EFDA-2618-4506-D34C12D74761}"/>
                </a:ext>
              </a:extLst>
            </p:cNvPr>
            <p:cNvGrpSpPr/>
            <p:nvPr/>
          </p:nvGrpSpPr>
          <p:grpSpPr>
            <a:xfrm>
              <a:off x="4653788" y="4128862"/>
              <a:ext cx="328555" cy="5922160"/>
              <a:chOff x="4653788" y="4128862"/>
              <a:chExt cx="328555" cy="5922160"/>
            </a:xfrm>
            <a:grpFill/>
          </p:grpSpPr>
          <p:sp>
            <p:nvSpPr>
              <p:cNvPr id="25" name="Freeform: Shape 24">
                <a:extLst>
                  <a:ext uri="{FF2B5EF4-FFF2-40B4-BE49-F238E27FC236}">
                    <a16:creationId xmlns:a16="http://schemas.microsoft.com/office/drawing/2014/main" id="{AA3E2CB7-C64D-9EAF-9F1B-DF7DCC80A4B9}"/>
                  </a:ext>
                </a:extLst>
              </p:cNvPr>
              <p:cNvSpPr/>
              <p:nvPr/>
            </p:nvSpPr>
            <p:spPr>
              <a:xfrm>
                <a:off x="4653788" y="412886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26" name="Freeform: Shape 25">
                <a:extLst>
                  <a:ext uri="{FF2B5EF4-FFF2-40B4-BE49-F238E27FC236}">
                    <a16:creationId xmlns:a16="http://schemas.microsoft.com/office/drawing/2014/main" id="{2E72F3DE-2771-6B88-9559-12912D4C55C1}"/>
                  </a:ext>
                </a:extLst>
              </p:cNvPr>
              <p:cNvSpPr/>
              <p:nvPr/>
            </p:nvSpPr>
            <p:spPr>
              <a:xfrm>
                <a:off x="4653788" y="972226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20" name="Freeform: Shape 19">
              <a:extLst>
                <a:ext uri="{FF2B5EF4-FFF2-40B4-BE49-F238E27FC236}">
                  <a16:creationId xmlns:a16="http://schemas.microsoft.com/office/drawing/2014/main" id="{81615684-FDFF-8E9E-7446-39B02CDE9AA4}"/>
                </a:ext>
              </a:extLst>
            </p:cNvPr>
            <p:cNvSpPr/>
            <p:nvPr/>
          </p:nvSpPr>
          <p:spPr>
            <a:xfrm>
              <a:off x="4325052" y="10050964"/>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21" name="Freeform: Shape 20">
              <a:extLst>
                <a:ext uri="{FF2B5EF4-FFF2-40B4-BE49-F238E27FC236}">
                  <a16:creationId xmlns:a16="http://schemas.microsoft.com/office/drawing/2014/main" id="{E2D9ECD3-6B4D-C00B-E18D-CD1251459461}"/>
                </a:ext>
              </a:extLst>
            </p:cNvPr>
            <p:cNvSpPr/>
            <p:nvPr/>
          </p:nvSpPr>
          <p:spPr>
            <a:xfrm>
              <a:off x="6529127" y="4950640"/>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22" name="Freeform: Shape 21">
              <a:extLst>
                <a:ext uri="{FF2B5EF4-FFF2-40B4-BE49-F238E27FC236}">
                  <a16:creationId xmlns:a16="http://schemas.microsoft.com/office/drawing/2014/main" id="{75E03E3B-608F-34A4-AF2A-B007A6BFA7AB}"/>
                </a:ext>
              </a:extLst>
            </p:cNvPr>
            <p:cNvSpPr/>
            <p:nvPr/>
          </p:nvSpPr>
          <p:spPr>
            <a:xfrm>
              <a:off x="6529127" y="4950640"/>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23" name="Freeform: Shape 22">
              <a:extLst>
                <a:ext uri="{FF2B5EF4-FFF2-40B4-BE49-F238E27FC236}">
                  <a16:creationId xmlns:a16="http://schemas.microsoft.com/office/drawing/2014/main" id="{46BB9B68-28E2-B34F-52ED-DFEF05776D16}"/>
                </a:ext>
              </a:extLst>
            </p:cNvPr>
            <p:cNvSpPr/>
            <p:nvPr/>
          </p:nvSpPr>
          <p:spPr>
            <a:xfrm>
              <a:off x="4928937" y="4585661"/>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24" name="Freeform: Shape 23">
              <a:extLst>
                <a:ext uri="{FF2B5EF4-FFF2-40B4-BE49-F238E27FC236}">
                  <a16:creationId xmlns:a16="http://schemas.microsoft.com/office/drawing/2014/main" id="{54036EBB-7754-F2E6-F960-F526EB7E28F5}"/>
                </a:ext>
              </a:extLst>
            </p:cNvPr>
            <p:cNvSpPr/>
            <p:nvPr/>
          </p:nvSpPr>
          <p:spPr>
            <a:xfrm>
              <a:off x="6529127" y="6420081"/>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27" name="Rectangle: Rounded Corners 26">
            <a:extLst>
              <a:ext uri="{FF2B5EF4-FFF2-40B4-BE49-F238E27FC236}">
                <a16:creationId xmlns:a16="http://schemas.microsoft.com/office/drawing/2014/main" id="{308A9AFC-AD36-4381-0868-796B6C931823}"/>
              </a:ext>
            </a:extLst>
          </p:cNvPr>
          <p:cNvSpPr/>
          <p:nvPr/>
        </p:nvSpPr>
        <p:spPr>
          <a:xfrm>
            <a:off x="1987283" y="3784336"/>
            <a:ext cx="1586324" cy="35649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prstClr val="white"/>
                </a:solidFill>
                <a:latin typeface="Arial"/>
                <a:cs typeface="Arial"/>
              </a:rPr>
              <a:t>What has happened until now?</a:t>
            </a:r>
          </a:p>
        </p:txBody>
      </p:sp>
      <p:grpSp>
        <p:nvGrpSpPr>
          <p:cNvPr id="28" name="Group 27">
            <a:extLst>
              <a:ext uri="{FF2B5EF4-FFF2-40B4-BE49-F238E27FC236}">
                <a16:creationId xmlns:a16="http://schemas.microsoft.com/office/drawing/2014/main" id="{820B7A14-DFD7-4DC0-4C7E-98116C7C09FE}"/>
              </a:ext>
            </a:extLst>
          </p:cNvPr>
          <p:cNvGrpSpPr/>
          <p:nvPr/>
        </p:nvGrpSpPr>
        <p:grpSpPr>
          <a:xfrm>
            <a:off x="3743708" y="31153"/>
            <a:ext cx="306891" cy="410375"/>
            <a:chOff x="5709492" y="1522552"/>
            <a:chExt cx="4258379" cy="6086389"/>
          </a:xfrm>
          <a:solidFill>
            <a:srgbClr val="00B050"/>
          </a:solidFill>
        </p:grpSpPr>
        <p:sp>
          <p:nvSpPr>
            <p:cNvPr id="29" name="Freeform: Shape 28">
              <a:extLst>
                <a:ext uri="{FF2B5EF4-FFF2-40B4-BE49-F238E27FC236}">
                  <a16:creationId xmlns:a16="http://schemas.microsoft.com/office/drawing/2014/main" id="{0D47A783-9C34-F557-5C0E-4D8EF2770DC8}"/>
                </a:ext>
              </a:extLst>
            </p:cNvPr>
            <p:cNvSpPr/>
            <p:nvPr/>
          </p:nvSpPr>
          <p:spPr>
            <a:xfrm>
              <a:off x="6091615" y="1851306"/>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30" name="Graphic 17">
              <a:extLst>
                <a:ext uri="{FF2B5EF4-FFF2-40B4-BE49-F238E27FC236}">
                  <a16:creationId xmlns:a16="http://schemas.microsoft.com/office/drawing/2014/main" id="{16BFE0AA-AA5A-6A6D-D10A-5E3E0E1270D5}"/>
                </a:ext>
              </a:extLst>
            </p:cNvPr>
            <p:cNvGrpSpPr/>
            <p:nvPr/>
          </p:nvGrpSpPr>
          <p:grpSpPr>
            <a:xfrm>
              <a:off x="6038228" y="1522552"/>
              <a:ext cx="328555" cy="5922160"/>
              <a:chOff x="6038228" y="1522552"/>
              <a:chExt cx="328555" cy="5922160"/>
            </a:xfrm>
            <a:grpFill/>
          </p:grpSpPr>
          <p:sp>
            <p:nvSpPr>
              <p:cNvPr id="36" name="Freeform: Shape 35">
                <a:extLst>
                  <a:ext uri="{FF2B5EF4-FFF2-40B4-BE49-F238E27FC236}">
                    <a16:creationId xmlns:a16="http://schemas.microsoft.com/office/drawing/2014/main" id="{CB863310-AEB1-B664-2E4C-E3E4899ED1E0}"/>
                  </a:ext>
                </a:extLst>
              </p:cNvPr>
              <p:cNvSpPr/>
              <p:nvPr/>
            </p:nvSpPr>
            <p:spPr>
              <a:xfrm>
                <a:off x="6038228" y="152255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37" name="Freeform: Shape 36">
                <a:extLst>
                  <a:ext uri="{FF2B5EF4-FFF2-40B4-BE49-F238E27FC236}">
                    <a16:creationId xmlns:a16="http://schemas.microsoft.com/office/drawing/2014/main" id="{51F58B72-BFBD-7726-D879-B55EC6E40020}"/>
                  </a:ext>
                </a:extLst>
              </p:cNvPr>
              <p:cNvSpPr/>
              <p:nvPr/>
            </p:nvSpPr>
            <p:spPr>
              <a:xfrm>
                <a:off x="6038228" y="711595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31" name="Freeform: Shape 30">
              <a:extLst>
                <a:ext uri="{FF2B5EF4-FFF2-40B4-BE49-F238E27FC236}">
                  <a16:creationId xmlns:a16="http://schemas.microsoft.com/office/drawing/2014/main" id="{6BA8F69A-795D-4A3C-F275-14B81B1FFD8F}"/>
                </a:ext>
              </a:extLst>
            </p:cNvPr>
            <p:cNvSpPr/>
            <p:nvPr/>
          </p:nvSpPr>
          <p:spPr>
            <a:xfrm>
              <a:off x="5709492" y="7444654"/>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32" name="Freeform: Shape 31">
              <a:extLst>
                <a:ext uri="{FF2B5EF4-FFF2-40B4-BE49-F238E27FC236}">
                  <a16:creationId xmlns:a16="http://schemas.microsoft.com/office/drawing/2014/main" id="{ACF8250D-D9E5-389E-84FE-881FE78CB215}"/>
                </a:ext>
              </a:extLst>
            </p:cNvPr>
            <p:cNvSpPr/>
            <p:nvPr/>
          </p:nvSpPr>
          <p:spPr>
            <a:xfrm>
              <a:off x="7913567" y="2344330"/>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33" name="Freeform: Shape 32">
              <a:extLst>
                <a:ext uri="{FF2B5EF4-FFF2-40B4-BE49-F238E27FC236}">
                  <a16:creationId xmlns:a16="http://schemas.microsoft.com/office/drawing/2014/main" id="{47EA0DC8-18B3-BB69-5EFD-A63B2600A404}"/>
                </a:ext>
              </a:extLst>
            </p:cNvPr>
            <p:cNvSpPr/>
            <p:nvPr/>
          </p:nvSpPr>
          <p:spPr>
            <a:xfrm>
              <a:off x="7913567" y="2344330"/>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34" name="Freeform: Shape 33">
              <a:extLst>
                <a:ext uri="{FF2B5EF4-FFF2-40B4-BE49-F238E27FC236}">
                  <a16:creationId xmlns:a16="http://schemas.microsoft.com/office/drawing/2014/main" id="{0F6934E1-8994-0097-62BF-ABB77096C218}"/>
                </a:ext>
              </a:extLst>
            </p:cNvPr>
            <p:cNvSpPr/>
            <p:nvPr/>
          </p:nvSpPr>
          <p:spPr>
            <a:xfrm>
              <a:off x="6313377" y="1979351"/>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35" name="Freeform: Shape 34">
              <a:extLst>
                <a:ext uri="{FF2B5EF4-FFF2-40B4-BE49-F238E27FC236}">
                  <a16:creationId xmlns:a16="http://schemas.microsoft.com/office/drawing/2014/main" id="{1A2E483A-3B24-52C2-2328-C29A4AE69CA3}"/>
                </a:ext>
              </a:extLst>
            </p:cNvPr>
            <p:cNvSpPr/>
            <p:nvPr/>
          </p:nvSpPr>
          <p:spPr>
            <a:xfrm>
              <a:off x="7913567" y="3813771"/>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38" name="Rectangle: Rounded Corners 37">
            <a:extLst>
              <a:ext uri="{FF2B5EF4-FFF2-40B4-BE49-F238E27FC236}">
                <a16:creationId xmlns:a16="http://schemas.microsoft.com/office/drawing/2014/main" id="{084FDB79-AE30-C2F8-9210-07D0104AB785}"/>
              </a:ext>
            </a:extLst>
          </p:cNvPr>
          <p:cNvSpPr/>
          <p:nvPr/>
        </p:nvSpPr>
        <p:spPr>
          <a:xfrm>
            <a:off x="4237946" y="244873"/>
            <a:ext cx="1295315" cy="258737"/>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prstClr val="white"/>
                </a:solidFill>
                <a:latin typeface="Arial"/>
              </a:rPr>
              <a:t>1 Oct 2027</a:t>
            </a:r>
          </a:p>
        </p:txBody>
      </p:sp>
      <p:pic>
        <p:nvPicPr>
          <p:cNvPr id="40" name="Picture 39">
            <a:extLst>
              <a:ext uri="{FF2B5EF4-FFF2-40B4-BE49-F238E27FC236}">
                <a16:creationId xmlns:a16="http://schemas.microsoft.com/office/drawing/2014/main" id="{0A7FCEDC-2F29-7639-FF48-942A5CA7B01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39" t="18131" r="1790" b="18048"/>
          <a:stretch/>
        </p:blipFill>
        <p:spPr>
          <a:xfrm>
            <a:off x="8135006" y="168550"/>
            <a:ext cx="835545" cy="551037"/>
          </a:xfrm>
          <a:prstGeom prst="rect">
            <a:avLst/>
          </a:prstGeom>
        </p:spPr>
      </p:pic>
      <p:grpSp>
        <p:nvGrpSpPr>
          <p:cNvPr id="49" name="Group 48">
            <a:extLst>
              <a:ext uri="{FF2B5EF4-FFF2-40B4-BE49-F238E27FC236}">
                <a16:creationId xmlns:a16="http://schemas.microsoft.com/office/drawing/2014/main" id="{CB0A94EA-2B72-0C09-A641-9020DA577FC9}"/>
              </a:ext>
            </a:extLst>
          </p:cNvPr>
          <p:cNvGrpSpPr/>
          <p:nvPr/>
        </p:nvGrpSpPr>
        <p:grpSpPr>
          <a:xfrm>
            <a:off x="5012315" y="4053697"/>
            <a:ext cx="284028" cy="410375"/>
            <a:chOff x="8190938" y="2882569"/>
            <a:chExt cx="378704" cy="547167"/>
          </a:xfrm>
          <a:solidFill>
            <a:schemeClr val="tx1"/>
          </a:solidFill>
        </p:grpSpPr>
        <p:sp>
          <p:nvSpPr>
            <p:cNvPr id="39" name="Freeform: Shape 38">
              <a:extLst>
                <a:ext uri="{FF2B5EF4-FFF2-40B4-BE49-F238E27FC236}">
                  <a16:creationId xmlns:a16="http://schemas.microsoft.com/office/drawing/2014/main" id="{8021D4DB-EC6B-A5AD-3218-61B37CD09B31}"/>
                </a:ext>
              </a:extLst>
            </p:cNvPr>
            <p:cNvSpPr/>
            <p:nvPr/>
          </p:nvSpPr>
          <p:spPr>
            <a:xfrm>
              <a:off x="8224921" y="2912124"/>
              <a:ext cx="19722" cy="473293"/>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41" name="Graphic 17">
              <a:extLst>
                <a:ext uri="{FF2B5EF4-FFF2-40B4-BE49-F238E27FC236}">
                  <a16:creationId xmlns:a16="http://schemas.microsoft.com/office/drawing/2014/main" id="{449B2725-FF27-418C-196E-9415C01D430A}"/>
                </a:ext>
              </a:extLst>
            </p:cNvPr>
            <p:cNvGrpSpPr/>
            <p:nvPr/>
          </p:nvGrpSpPr>
          <p:grpSpPr>
            <a:xfrm>
              <a:off x="8220173" y="2882569"/>
              <a:ext cx="29219" cy="532403"/>
              <a:chOff x="4653788" y="4128862"/>
              <a:chExt cx="328555" cy="5922160"/>
            </a:xfrm>
            <a:grpFill/>
          </p:grpSpPr>
          <p:sp>
            <p:nvSpPr>
              <p:cNvPr id="47" name="Freeform: Shape 46">
                <a:extLst>
                  <a:ext uri="{FF2B5EF4-FFF2-40B4-BE49-F238E27FC236}">
                    <a16:creationId xmlns:a16="http://schemas.microsoft.com/office/drawing/2014/main" id="{5ADE2D83-6E88-5324-5C75-AE1FFA434657}"/>
                  </a:ext>
                </a:extLst>
              </p:cNvPr>
              <p:cNvSpPr/>
              <p:nvPr/>
            </p:nvSpPr>
            <p:spPr>
              <a:xfrm>
                <a:off x="4653788" y="412886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48" name="Freeform: Shape 47">
                <a:extLst>
                  <a:ext uri="{FF2B5EF4-FFF2-40B4-BE49-F238E27FC236}">
                    <a16:creationId xmlns:a16="http://schemas.microsoft.com/office/drawing/2014/main" id="{2757035D-156B-78FA-3534-C11208F9CF8D}"/>
                  </a:ext>
                </a:extLst>
              </p:cNvPr>
              <p:cNvSpPr/>
              <p:nvPr/>
            </p:nvSpPr>
            <p:spPr>
              <a:xfrm>
                <a:off x="4653788" y="972226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42" name="Freeform: Shape 41">
              <a:extLst>
                <a:ext uri="{FF2B5EF4-FFF2-40B4-BE49-F238E27FC236}">
                  <a16:creationId xmlns:a16="http://schemas.microsoft.com/office/drawing/2014/main" id="{9558DE84-F894-EB56-988A-77DB5BF13378}"/>
                </a:ext>
              </a:extLst>
            </p:cNvPr>
            <p:cNvSpPr/>
            <p:nvPr/>
          </p:nvSpPr>
          <p:spPr>
            <a:xfrm>
              <a:off x="8190938" y="3414967"/>
              <a:ext cx="87694" cy="14769"/>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43" name="Freeform: Shape 42">
              <a:extLst>
                <a:ext uri="{FF2B5EF4-FFF2-40B4-BE49-F238E27FC236}">
                  <a16:creationId xmlns:a16="http://schemas.microsoft.com/office/drawing/2014/main" id="{A1508CBE-DAB5-EDFB-25F6-108FAECC500C}"/>
                </a:ext>
              </a:extLst>
            </p:cNvPr>
            <p:cNvSpPr/>
            <p:nvPr/>
          </p:nvSpPr>
          <p:spPr>
            <a:xfrm>
              <a:off x="8386950" y="2956447"/>
              <a:ext cx="182692" cy="164932"/>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44" name="Freeform: Shape 43">
              <a:extLst>
                <a:ext uri="{FF2B5EF4-FFF2-40B4-BE49-F238E27FC236}">
                  <a16:creationId xmlns:a16="http://schemas.microsoft.com/office/drawing/2014/main" id="{75EF5519-ABC7-F55A-ADEE-BE8792F244AF}"/>
                </a:ext>
              </a:extLst>
            </p:cNvPr>
            <p:cNvSpPr/>
            <p:nvPr/>
          </p:nvSpPr>
          <p:spPr>
            <a:xfrm>
              <a:off x="8386950" y="2956447"/>
              <a:ext cx="74994" cy="164932"/>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45" name="Freeform: Shape 44">
              <a:extLst>
                <a:ext uri="{FF2B5EF4-FFF2-40B4-BE49-F238E27FC236}">
                  <a16:creationId xmlns:a16="http://schemas.microsoft.com/office/drawing/2014/main" id="{FDF32DA6-96B0-7F48-E48F-1EE51A549FAE}"/>
                </a:ext>
              </a:extLst>
            </p:cNvPr>
            <p:cNvSpPr/>
            <p:nvPr/>
          </p:nvSpPr>
          <p:spPr>
            <a:xfrm>
              <a:off x="8244642" y="2923635"/>
              <a:ext cx="182692" cy="164918"/>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46" name="Freeform: Shape 45">
              <a:extLst>
                <a:ext uri="{FF2B5EF4-FFF2-40B4-BE49-F238E27FC236}">
                  <a16:creationId xmlns:a16="http://schemas.microsoft.com/office/drawing/2014/main" id="{DF7089F3-03E3-0FF4-2D1D-E3AFA6702B0D}"/>
                </a:ext>
              </a:extLst>
            </p:cNvPr>
            <p:cNvSpPr/>
            <p:nvPr/>
          </p:nvSpPr>
          <p:spPr>
            <a:xfrm>
              <a:off x="8386950" y="3088550"/>
              <a:ext cx="40385" cy="32845"/>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50" name="Rectangle: Rounded Corners 49">
            <a:extLst>
              <a:ext uri="{FF2B5EF4-FFF2-40B4-BE49-F238E27FC236}">
                <a16:creationId xmlns:a16="http://schemas.microsoft.com/office/drawing/2014/main" id="{64A32206-40AC-096D-4D0E-51288ACC7EEB}"/>
              </a:ext>
            </a:extLst>
          </p:cNvPr>
          <p:cNvSpPr/>
          <p:nvPr/>
        </p:nvSpPr>
        <p:spPr>
          <a:xfrm>
            <a:off x="5533261" y="4277013"/>
            <a:ext cx="1608427" cy="29443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prstClr val="white"/>
                </a:solidFill>
                <a:latin typeface="Arial"/>
                <a:cs typeface="Arial"/>
              </a:rPr>
              <a:t>1 July 2026</a:t>
            </a:r>
          </a:p>
        </p:txBody>
      </p:sp>
      <p:sp>
        <p:nvSpPr>
          <p:cNvPr id="51" name="TextBox 59">
            <a:extLst>
              <a:ext uri="{FF2B5EF4-FFF2-40B4-BE49-F238E27FC236}">
                <a16:creationId xmlns:a16="http://schemas.microsoft.com/office/drawing/2014/main" id="{D7A1E0A1-807E-B6F1-5856-5C0A1BF84378}"/>
              </a:ext>
            </a:extLst>
          </p:cNvPr>
          <p:cNvSpPr txBox="1"/>
          <p:nvPr/>
        </p:nvSpPr>
        <p:spPr>
          <a:xfrm>
            <a:off x="2140087" y="1956986"/>
            <a:ext cx="2095043" cy="152432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b="1" dirty="0">
              <a:solidFill>
                <a:srgbClr val="000000"/>
              </a:solidFill>
              <a:latin typeface="Arial"/>
              <a:cs typeface="Arial"/>
            </a:endParaRPr>
          </a:p>
          <a:p>
            <a:pPr defTabSz="685800">
              <a:lnSpc>
                <a:spcPct val="110000"/>
              </a:lnSpc>
              <a:buClrTx/>
              <a:defRPr/>
            </a:pPr>
            <a:r>
              <a:rPr lang="en-GB" sz="1050" b="1" dirty="0">
                <a:solidFill>
                  <a:srgbClr val="000000"/>
                </a:solidFill>
                <a:latin typeface="Arial"/>
                <a:cs typeface="Arial"/>
              </a:rPr>
              <a:t>Key features:</a:t>
            </a:r>
          </a:p>
          <a:p>
            <a:pPr marL="128588" indent="-128588" defTabSz="685800">
              <a:lnSpc>
                <a:spcPct val="110000"/>
              </a:lnSpc>
              <a:buClrTx/>
              <a:buFont typeface="Arial" panose="020B0604020202020204" pitchFamily="34" charset="0"/>
              <a:buChar char="•"/>
              <a:defRPr/>
            </a:pPr>
            <a:r>
              <a:rPr lang="en-GB" sz="1050" dirty="0">
                <a:solidFill>
                  <a:srgbClr val="000000"/>
                </a:solidFill>
                <a:latin typeface="Arial"/>
                <a:cs typeface="Arial"/>
              </a:rPr>
              <a:t>5-corner decentralised model using </a:t>
            </a:r>
            <a:r>
              <a:rPr lang="en-GB" sz="1050" dirty="0" err="1">
                <a:solidFill>
                  <a:srgbClr val="000000"/>
                </a:solidFill>
                <a:latin typeface="Arial"/>
                <a:cs typeface="Arial"/>
              </a:rPr>
              <a:t>Peppol</a:t>
            </a:r>
            <a:endParaRPr lang="en-GB" sz="1050"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dirty="0">
                <a:solidFill>
                  <a:srgbClr val="000000"/>
                </a:solidFill>
                <a:latin typeface="Arial"/>
                <a:cs typeface="Arial"/>
              </a:rPr>
              <a:t>Applicability: B2B &amp; B2G</a:t>
            </a:r>
          </a:p>
          <a:p>
            <a:pPr marL="128588" indent="-128588" defTabSz="685800">
              <a:lnSpc>
                <a:spcPct val="110000"/>
              </a:lnSpc>
              <a:buClrTx/>
              <a:buFont typeface="Arial" panose="020B0604020202020204" pitchFamily="34" charset="0"/>
              <a:buChar char="•"/>
              <a:defRPr/>
            </a:pPr>
            <a:r>
              <a:rPr lang="en-GB" sz="1050" dirty="0">
                <a:solidFill>
                  <a:srgbClr val="000000"/>
                </a:solidFill>
                <a:latin typeface="Arial"/>
                <a:cs typeface="Arial"/>
              </a:rPr>
              <a:t>Mandatory to appoint an ASP</a:t>
            </a:r>
          </a:p>
          <a:p>
            <a:pPr marL="128588" indent="-128588" defTabSz="685800">
              <a:lnSpc>
                <a:spcPct val="110000"/>
              </a:lnSpc>
              <a:buClrTx/>
              <a:buFont typeface="Arial" panose="020B0604020202020204" pitchFamily="34" charset="0"/>
              <a:buChar char="•"/>
              <a:defRPr/>
            </a:pPr>
            <a:r>
              <a:rPr lang="en-GB" sz="1050" dirty="0">
                <a:solidFill>
                  <a:srgbClr val="000000"/>
                </a:solidFill>
                <a:latin typeface="Arial"/>
                <a:cs typeface="Arial"/>
              </a:rPr>
              <a:t>List of 12 pre-approved ASPs issued by the MOF</a:t>
            </a:r>
          </a:p>
          <a:p>
            <a:pPr defTabSz="685800">
              <a:lnSpc>
                <a:spcPct val="110000"/>
              </a:lnSpc>
              <a:spcAft>
                <a:spcPts val="225"/>
              </a:spcAft>
              <a:buClrTx/>
              <a:defRPr/>
            </a:pPr>
            <a:endParaRPr lang="en-GB" sz="900" b="1" dirty="0">
              <a:solidFill>
                <a:srgbClr val="000000"/>
              </a:solidFill>
              <a:latin typeface="Arial"/>
              <a:cs typeface="Arial"/>
            </a:endParaRPr>
          </a:p>
        </p:txBody>
      </p:sp>
      <p:grpSp>
        <p:nvGrpSpPr>
          <p:cNvPr id="11" name="Group 10">
            <a:extLst>
              <a:ext uri="{FF2B5EF4-FFF2-40B4-BE49-F238E27FC236}">
                <a16:creationId xmlns:a16="http://schemas.microsoft.com/office/drawing/2014/main" id="{C38849A2-D417-2F31-34CC-3BE04400E971}"/>
              </a:ext>
            </a:extLst>
          </p:cNvPr>
          <p:cNvGrpSpPr/>
          <p:nvPr/>
        </p:nvGrpSpPr>
        <p:grpSpPr>
          <a:xfrm>
            <a:off x="5379017" y="3283102"/>
            <a:ext cx="284028" cy="410375"/>
            <a:chOff x="8190938" y="2882569"/>
            <a:chExt cx="378704" cy="547167"/>
          </a:xfrm>
          <a:solidFill>
            <a:schemeClr val="bg1"/>
          </a:solidFill>
        </p:grpSpPr>
        <p:sp>
          <p:nvSpPr>
            <p:cNvPr id="52" name="Freeform: Shape 51">
              <a:extLst>
                <a:ext uri="{FF2B5EF4-FFF2-40B4-BE49-F238E27FC236}">
                  <a16:creationId xmlns:a16="http://schemas.microsoft.com/office/drawing/2014/main" id="{95911942-EC9A-DD16-04A0-BD2429DB1025}"/>
                </a:ext>
              </a:extLst>
            </p:cNvPr>
            <p:cNvSpPr/>
            <p:nvPr/>
          </p:nvSpPr>
          <p:spPr>
            <a:xfrm>
              <a:off x="8224921" y="2912124"/>
              <a:ext cx="19722" cy="473293"/>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53" name="Graphic 17">
              <a:extLst>
                <a:ext uri="{FF2B5EF4-FFF2-40B4-BE49-F238E27FC236}">
                  <a16:creationId xmlns:a16="http://schemas.microsoft.com/office/drawing/2014/main" id="{3DCDD507-4789-7361-ECC9-EBE83E635B85}"/>
                </a:ext>
              </a:extLst>
            </p:cNvPr>
            <p:cNvGrpSpPr/>
            <p:nvPr/>
          </p:nvGrpSpPr>
          <p:grpSpPr>
            <a:xfrm>
              <a:off x="8220173" y="2882569"/>
              <a:ext cx="29219" cy="532403"/>
              <a:chOff x="4653788" y="4128862"/>
              <a:chExt cx="328555" cy="5922160"/>
            </a:xfrm>
            <a:grpFill/>
          </p:grpSpPr>
          <p:sp>
            <p:nvSpPr>
              <p:cNvPr id="59" name="Freeform: Shape 58">
                <a:extLst>
                  <a:ext uri="{FF2B5EF4-FFF2-40B4-BE49-F238E27FC236}">
                    <a16:creationId xmlns:a16="http://schemas.microsoft.com/office/drawing/2014/main" id="{17C3444A-C48F-C4C5-05B6-E18C11D19A23}"/>
                  </a:ext>
                </a:extLst>
              </p:cNvPr>
              <p:cNvSpPr/>
              <p:nvPr/>
            </p:nvSpPr>
            <p:spPr>
              <a:xfrm>
                <a:off x="4653788" y="412886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60" name="Freeform: Shape 59">
                <a:extLst>
                  <a:ext uri="{FF2B5EF4-FFF2-40B4-BE49-F238E27FC236}">
                    <a16:creationId xmlns:a16="http://schemas.microsoft.com/office/drawing/2014/main" id="{894478EB-4051-6409-6E62-0EBB344B84C3}"/>
                  </a:ext>
                </a:extLst>
              </p:cNvPr>
              <p:cNvSpPr/>
              <p:nvPr/>
            </p:nvSpPr>
            <p:spPr>
              <a:xfrm>
                <a:off x="4653788" y="972226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54" name="Freeform: Shape 53">
              <a:extLst>
                <a:ext uri="{FF2B5EF4-FFF2-40B4-BE49-F238E27FC236}">
                  <a16:creationId xmlns:a16="http://schemas.microsoft.com/office/drawing/2014/main" id="{8B01002B-8157-4A86-7A59-09DF7DF25206}"/>
                </a:ext>
              </a:extLst>
            </p:cNvPr>
            <p:cNvSpPr/>
            <p:nvPr/>
          </p:nvSpPr>
          <p:spPr>
            <a:xfrm>
              <a:off x="8190938" y="3414967"/>
              <a:ext cx="87694" cy="14769"/>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55" name="Freeform: Shape 54">
              <a:extLst>
                <a:ext uri="{FF2B5EF4-FFF2-40B4-BE49-F238E27FC236}">
                  <a16:creationId xmlns:a16="http://schemas.microsoft.com/office/drawing/2014/main" id="{347D282C-A12B-D98F-2830-1B9952AA8813}"/>
                </a:ext>
              </a:extLst>
            </p:cNvPr>
            <p:cNvSpPr/>
            <p:nvPr/>
          </p:nvSpPr>
          <p:spPr>
            <a:xfrm>
              <a:off x="8386950" y="2956447"/>
              <a:ext cx="182692" cy="164932"/>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56" name="Freeform: Shape 55">
              <a:extLst>
                <a:ext uri="{FF2B5EF4-FFF2-40B4-BE49-F238E27FC236}">
                  <a16:creationId xmlns:a16="http://schemas.microsoft.com/office/drawing/2014/main" id="{E402885E-FFF2-FE00-3196-4B734EFAB62B}"/>
                </a:ext>
              </a:extLst>
            </p:cNvPr>
            <p:cNvSpPr/>
            <p:nvPr/>
          </p:nvSpPr>
          <p:spPr>
            <a:xfrm>
              <a:off x="8386950" y="2956447"/>
              <a:ext cx="74994" cy="164932"/>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57" name="Freeform: Shape 56">
              <a:extLst>
                <a:ext uri="{FF2B5EF4-FFF2-40B4-BE49-F238E27FC236}">
                  <a16:creationId xmlns:a16="http://schemas.microsoft.com/office/drawing/2014/main" id="{D3A7E01D-8CCE-C390-1145-A8B119E7B920}"/>
                </a:ext>
              </a:extLst>
            </p:cNvPr>
            <p:cNvSpPr/>
            <p:nvPr/>
          </p:nvSpPr>
          <p:spPr>
            <a:xfrm>
              <a:off x="8244642" y="2923635"/>
              <a:ext cx="182692" cy="164918"/>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58" name="Freeform: Shape 57">
              <a:extLst>
                <a:ext uri="{FF2B5EF4-FFF2-40B4-BE49-F238E27FC236}">
                  <a16:creationId xmlns:a16="http://schemas.microsoft.com/office/drawing/2014/main" id="{B74D4771-E438-0360-4B1F-ECB238F993EB}"/>
                </a:ext>
              </a:extLst>
            </p:cNvPr>
            <p:cNvSpPr/>
            <p:nvPr/>
          </p:nvSpPr>
          <p:spPr>
            <a:xfrm>
              <a:off x="8386950" y="3088550"/>
              <a:ext cx="40385" cy="32845"/>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61" name="Rectangle: Rounded Corners 60">
            <a:extLst>
              <a:ext uri="{FF2B5EF4-FFF2-40B4-BE49-F238E27FC236}">
                <a16:creationId xmlns:a16="http://schemas.microsoft.com/office/drawing/2014/main" id="{5C132C35-0F45-1B27-7B44-90F2231F271E}"/>
              </a:ext>
            </a:extLst>
          </p:cNvPr>
          <p:cNvSpPr/>
          <p:nvPr/>
        </p:nvSpPr>
        <p:spPr>
          <a:xfrm>
            <a:off x="5877239" y="3486354"/>
            <a:ext cx="1549260" cy="23700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srgbClr val="000000"/>
                </a:solidFill>
                <a:latin typeface="Arial"/>
                <a:cs typeface="Arial"/>
              </a:rPr>
              <a:t>31 July 2026</a:t>
            </a:r>
          </a:p>
        </p:txBody>
      </p:sp>
      <p:sp>
        <p:nvSpPr>
          <p:cNvPr id="62" name="TextBox 59">
            <a:extLst>
              <a:ext uri="{FF2B5EF4-FFF2-40B4-BE49-F238E27FC236}">
                <a16:creationId xmlns:a16="http://schemas.microsoft.com/office/drawing/2014/main" id="{E427498E-69B4-352C-ACC1-660C5487AF72}"/>
              </a:ext>
            </a:extLst>
          </p:cNvPr>
          <p:cNvSpPr txBox="1"/>
          <p:nvPr/>
        </p:nvSpPr>
        <p:spPr>
          <a:xfrm>
            <a:off x="5703745" y="3693095"/>
            <a:ext cx="3252470" cy="50481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b="1" dirty="0">
                <a:solidFill>
                  <a:srgbClr val="000000"/>
                </a:solidFill>
                <a:latin typeface="Arial"/>
                <a:cs typeface="Arial"/>
              </a:rPr>
              <a:t>ASP appointment for Phase 1 – 50mn &amp; above</a:t>
            </a:r>
          </a:p>
          <a:p>
            <a:pPr defTabSz="685800">
              <a:lnSpc>
                <a:spcPct val="110000"/>
              </a:lnSpc>
              <a:spcAft>
                <a:spcPts val="225"/>
              </a:spcAft>
              <a:buClrTx/>
              <a:defRPr/>
            </a:pPr>
            <a:endParaRPr lang="en-GB" sz="1200" dirty="0">
              <a:solidFill>
                <a:srgbClr val="000000"/>
              </a:solidFill>
              <a:latin typeface="Arial"/>
              <a:cs typeface="Arial"/>
            </a:endParaRPr>
          </a:p>
        </p:txBody>
      </p:sp>
      <p:pic>
        <p:nvPicPr>
          <p:cNvPr id="3" name="Graphic 2" descr="Building">
            <a:extLst>
              <a:ext uri="{FF2B5EF4-FFF2-40B4-BE49-F238E27FC236}">
                <a16:creationId xmlns:a16="http://schemas.microsoft.com/office/drawing/2014/main" id="{203F2CD8-0C0D-C355-9428-0644AEA58A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614" y="1386942"/>
            <a:ext cx="469903" cy="469903"/>
          </a:xfrm>
          <a:prstGeom prst="rect">
            <a:avLst/>
          </a:prstGeom>
        </p:spPr>
      </p:pic>
      <p:pic>
        <p:nvPicPr>
          <p:cNvPr id="5" name="Graphic 4" descr="Office worker">
            <a:extLst>
              <a:ext uri="{FF2B5EF4-FFF2-40B4-BE49-F238E27FC236}">
                <a16:creationId xmlns:a16="http://schemas.microsoft.com/office/drawing/2014/main" id="{BDCFF697-6136-4D2A-6728-87CDC0B957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57878" y="1381082"/>
            <a:ext cx="518651" cy="518651"/>
          </a:xfrm>
          <a:prstGeom prst="rect">
            <a:avLst/>
          </a:prstGeom>
        </p:spPr>
      </p:pic>
      <p:pic>
        <p:nvPicPr>
          <p:cNvPr id="7" name="Graphic 6" descr="Court">
            <a:extLst>
              <a:ext uri="{FF2B5EF4-FFF2-40B4-BE49-F238E27FC236}">
                <a16:creationId xmlns:a16="http://schemas.microsoft.com/office/drawing/2014/main" id="{4CB434B0-0087-3B91-6043-772DAA304C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2409" y="3276455"/>
            <a:ext cx="469903" cy="469903"/>
          </a:xfrm>
          <a:prstGeom prst="rect">
            <a:avLst/>
          </a:prstGeom>
        </p:spPr>
      </p:pic>
      <p:sp>
        <p:nvSpPr>
          <p:cNvPr id="8" name="TextBox 7">
            <a:extLst>
              <a:ext uri="{FF2B5EF4-FFF2-40B4-BE49-F238E27FC236}">
                <a16:creationId xmlns:a16="http://schemas.microsoft.com/office/drawing/2014/main" id="{0102C927-119A-E47D-133D-BDABC9B26B0B}"/>
              </a:ext>
            </a:extLst>
          </p:cNvPr>
          <p:cNvSpPr txBox="1"/>
          <p:nvPr/>
        </p:nvSpPr>
        <p:spPr>
          <a:xfrm>
            <a:off x="387165" y="1884682"/>
            <a:ext cx="821659" cy="161583"/>
          </a:xfrm>
          <a:prstGeom prst="rect">
            <a:avLst/>
          </a:prstGeom>
          <a:noFill/>
        </p:spPr>
        <p:txBody>
          <a:bodyPr wrap="square" lIns="0" tIns="0" rIns="0" bIns="0">
            <a:spAutoFit/>
          </a:bodyPr>
          <a:lstStyle/>
          <a:p>
            <a:pPr algn="ctr" defTabSz="685800" eaLnBrk="0" fontAlgn="base" hangingPunct="0">
              <a:spcBef>
                <a:spcPct val="0"/>
              </a:spcBef>
              <a:spcAft>
                <a:spcPct val="0"/>
              </a:spcAft>
              <a:buClrTx/>
              <a:defRPr/>
            </a:pPr>
            <a:r>
              <a:rPr lang="en-US" sz="1050" b="1" dirty="0">
                <a:solidFill>
                  <a:prstClr val="white"/>
                </a:solidFill>
                <a:ea typeface="+mn-ea"/>
                <a:cs typeface="+mn-cs"/>
              </a:rPr>
              <a:t>C1 - Supplier</a:t>
            </a:r>
          </a:p>
        </p:txBody>
      </p:sp>
      <p:pic>
        <p:nvPicPr>
          <p:cNvPr id="9" name="Graphic 8" descr="Network">
            <a:extLst>
              <a:ext uri="{FF2B5EF4-FFF2-40B4-BE49-F238E27FC236}">
                <a16:creationId xmlns:a16="http://schemas.microsoft.com/office/drawing/2014/main" id="{003034ED-0D78-5B6F-9F4B-271E1BCFB870}"/>
              </a:ext>
            </a:extLst>
          </p:cNvPr>
          <p:cNvPicPr>
            <a:picLocks noChangeAspect="1"/>
          </p:cNvPicPr>
          <p:nvPr/>
        </p:nvPicPr>
        <p:blipFill>
          <a:blip r:embed="rId9">
            <a:duotone>
              <a:prstClr val="black"/>
              <a:schemeClr val="accent1">
                <a:tint val="45000"/>
                <a:satMod val="400000"/>
              </a:schemeClr>
            </a:duotone>
            <a:extLst>
              <a:ext uri="{96DAC541-7B7A-43D3-8B79-37D633B846F1}">
                <asvg:svgBlip xmlns:asvg="http://schemas.microsoft.com/office/drawing/2016/SVG/main" r:embed="rId10"/>
              </a:ext>
            </a:extLst>
          </a:blip>
          <a:stretch>
            <a:fillRect/>
          </a:stretch>
        </p:blipFill>
        <p:spPr>
          <a:xfrm>
            <a:off x="763037" y="2025910"/>
            <a:ext cx="109055" cy="109055"/>
          </a:xfrm>
          <a:prstGeom prst="rect">
            <a:avLst/>
          </a:prstGeom>
        </p:spPr>
      </p:pic>
      <p:sp>
        <p:nvSpPr>
          <p:cNvPr id="10" name="TextBox 9">
            <a:extLst>
              <a:ext uri="{FF2B5EF4-FFF2-40B4-BE49-F238E27FC236}">
                <a16:creationId xmlns:a16="http://schemas.microsoft.com/office/drawing/2014/main" id="{8D0AED20-9D1A-C364-9FA3-72FCA2A22978}"/>
              </a:ext>
            </a:extLst>
          </p:cNvPr>
          <p:cNvSpPr txBox="1"/>
          <p:nvPr/>
        </p:nvSpPr>
        <p:spPr>
          <a:xfrm>
            <a:off x="1256542" y="1885266"/>
            <a:ext cx="821658" cy="161583"/>
          </a:xfrm>
          <a:prstGeom prst="rect">
            <a:avLst/>
          </a:prstGeom>
          <a:noFill/>
        </p:spPr>
        <p:txBody>
          <a:bodyPr wrap="square" lIns="0" tIns="0" rIns="0" bIns="0">
            <a:spAutoFit/>
          </a:bodyPr>
          <a:lstStyle/>
          <a:p>
            <a:pPr algn="ctr" defTabSz="685800" eaLnBrk="0" fontAlgn="base" hangingPunct="0">
              <a:spcBef>
                <a:spcPct val="0"/>
              </a:spcBef>
              <a:spcAft>
                <a:spcPct val="0"/>
              </a:spcAft>
              <a:buClrTx/>
              <a:defRPr/>
            </a:pPr>
            <a:r>
              <a:rPr lang="en-US" sz="1050" b="1" dirty="0">
                <a:solidFill>
                  <a:prstClr val="white"/>
                </a:solidFill>
                <a:ea typeface="+mn-ea"/>
                <a:cs typeface="+mn-cs"/>
              </a:rPr>
              <a:t>C4 - Buyer</a:t>
            </a:r>
          </a:p>
        </p:txBody>
      </p:sp>
      <p:pic>
        <p:nvPicPr>
          <p:cNvPr id="16" name="Graphic 15" descr="Network">
            <a:extLst>
              <a:ext uri="{FF2B5EF4-FFF2-40B4-BE49-F238E27FC236}">
                <a16:creationId xmlns:a16="http://schemas.microsoft.com/office/drawing/2014/main" id="{EFB9CC94-6A98-AB78-E444-82E382ACACB6}"/>
              </a:ext>
            </a:extLst>
          </p:cNvPr>
          <p:cNvPicPr>
            <a:picLocks noChangeAspect="1"/>
          </p:cNvPicPr>
          <p:nvPr/>
        </p:nvPicPr>
        <p:blipFill>
          <a:blip r:embed="rId9">
            <a:duotone>
              <a:prstClr val="black"/>
              <a:schemeClr val="accent1">
                <a:tint val="45000"/>
                <a:satMod val="400000"/>
              </a:schemeClr>
            </a:duotone>
            <a:extLst>
              <a:ext uri="{96DAC541-7B7A-43D3-8B79-37D633B846F1}">
                <asvg:svgBlip xmlns:asvg="http://schemas.microsoft.com/office/drawing/2016/SVG/main" r:embed="rId10"/>
              </a:ext>
            </a:extLst>
          </a:blip>
          <a:stretch>
            <a:fillRect/>
          </a:stretch>
        </p:blipFill>
        <p:spPr>
          <a:xfrm>
            <a:off x="1562676" y="2025910"/>
            <a:ext cx="109055" cy="109055"/>
          </a:xfrm>
          <a:prstGeom prst="rect">
            <a:avLst/>
          </a:prstGeom>
        </p:spPr>
      </p:pic>
      <p:cxnSp>
        <p:nvCxnSpPr>
          <p:cNvPr id="63" name="Straight Arrow Connector 62">
            <a:extLst>
              <a:ext uri="{FF2B5EF4-FFF2-40B4-BE49-F238E27FC236}">
                <a16:creationId xmlns:a16="http://schemas.microsoft.com/office/drawing/2014/main" id="{220E6CDF-43B2-A336-B732-010613F53E14}"/>
              </a:ext>
            </a:extLst>
          </p:cNvPr>
          <p:cNvCxnSpPr>
            <a:cxnSpLocks/>
          </p:cNvCxnSpPr>
          <p:nvPr/>
        </p:nvCxnSpPr>
        <p:spPr>
          <a:xfrm>
            <a:off x="1131427" y="2824861"/>
            <a:ext cx="207842" cy="0"/>
          </a:xfrm>
          <a:prstGeom prst="straightConnector1">
            <a:avLst/>
          </a:prstGeom>
          <a:solidFill>
            <a:srgbClr val="1E49E2"/>
          </a:solidFill>
          <a:ln w="38100" cap="flat" cmpd="sng" algn="ctr">
            <a:solidFill>
              <a:srgbClr val="ACEAFF"/>
            </a:solidFill>
            <a:prstDash val="solid"/>
            <a:miter lim="800000"/>
            <a:tailEnd type="triangle"/>
          </a:ln>
          <a:effectLst/>
        </p:spPr>
      </p:cxnSp>
      <p:cxnSp>
        <p:nvCxnSpPr>
          <p:cNvPr id="64" name="Straight Arrow Connector 63">
            <a:extLst>
              <a:ext uri="{FF2B5EF4-FFF2-40B4-BE49-F238E27FC236}">
                <a16:creationId xmlns:a16="http://schemas.microsoft.com/office/drawing/2014/main" id="{7215998A-F3AE-F7A1-2E20-B421F182C2B3}"/>
              </a:ext>
            </a:extLst>
          </p:cNvPr>
          <p:cNvCxnSpPr>
            <a:cxnSpLocks/>
          </p:cNvCxnSpPr>
          <p:nvPr/>
        </p:nvCxnSpPr>
        <p:spPr>
          <a:xfrm flipH="1">
            <a:off x="1131427" y="2733475"/>
            <a:ext cx="207842" cy="0"/>
          </a:xfrm>
          <a:prstGeom prst="straightConnector1">
            <a:avLst/>
          </a:prstGeom>
          <a:solidFill>
            <a:srgbClr val="1E49E2"/>
          </a:solidFill>
          <a:ln w="38100" cap="flat" cmpd="sng" algn="ctr">
            <a:solidFill>
              <a:srgbClr val="00B8F5"/>
            </a:solidFill>
            <a:prstDash val="solid"/>
            <a:miter lim="800000"/>
            <a:tailEnd type="triangle"/>
          </a:ln>
          <a:effectLst/>
        </p:spPr>
      </p:cxnSp>
      <p:cxnSp>
        <p:nvCxnSpPr>
          <p:cNvPr id="65" name="Straight Arrow Connector 64">
            <a:extLst>
              <a:ext uri="{FF2B5EF4-FFF2-40B4-BE49-F238E27FC236}">
                <a16:creationId xmlns:a16="http://schemas.microsoft.com/office/drawing/2014/main" id="{93AEBF88-ED31-9D5C-C3C9-0969C36F3D9D}"/>
              </a:ext>
            </a:extLst>
          </p:cNvPr>
          <p:cNvCxnSpPr>
            <a:cxnSpLocks/>
          </p:cNvCxnSpPr>
          <p:nvPr/>
        </p:nvCxnSpPr>
        <p:spPr>
          <a:xfrm rot="3064002">
            <a:off x="794843" y="3284957"/>
            <a:ext cx="205802" cy="0"/>
          </a:xfrm>
          <a:prstGeom prst="straightConnector1">
            <a:avLst/>
          </a:prstGeom>
          <a:solidFill>
            <a:srgbClr val="1E49E2"/>
          </a:solidFill>
          <a:ln w="38100" cap="flat" cmpd="sng" algn="ctr">
            <a:solidFill>
              <a:srgbClr val="ACEAFF"/>
            </a:solidFill>
            <a:prstDash val="solid"/>
            <a:miter lim="800000"/>
            <a:tailEnd type="triangle"/>
          </a:ln>
          <a:effectLst/>
        </p:spPr>
      </p:cxnSp>
      <p:cxnSp>
        <p:nvCxnSpPr>
          <p:cNvPr id="66" name="Straight Arrow Connector 65">
            <a:extLst>
              <a:ext uri="{FF2B5EF4-FFF2-40B4-BE49-F238E27FC236}">
                <a16:creationId xmlns:a16="http://schemas.microsoft.com/office/drawing/2014/main" id="{BE2A27A8-5BD0-A80A-B8FE-4353DE5B477C}"/>
              </a:ext>
            </a:extLst>
          </p:cNvPr>
          <p:cNvCxnSpPr>
            <a:cxnSpLocks/>
          </p:cNvCxnSpPr>
          <p:nvPr/>
        </p:nvCxnSpPr>
        <p:spPr>
          <a:xfrm rot="3064002" flipH="1">
            <a:off x="866744" y="3223607"/>
            <a:ext cx="205802" cy="0"/>
          </a:xfrm>
          <a:prstGeom prst="straightConnector1">
            <a:avLst/>
          </a:prstGeom>
          <a:solidFill>
            <a:srgbClr val="1E49E2"/>
          </a:solidFill>
          <a:ln w="38100" cap="flat" cmpd="sng" algn="ctr">
            <a:solidFill>
              <a:srgbClr val="00B8F5"/>
            </a:solidFill>
            <a:prstDash val="solid"/>
            <a:miter lim="800000"/>
            <a:tailEnd type="triangle"/>
          </a:ln>
          <a:effectLst/>
        </p:spPr>
      </p:cxnSp>
      <p:cxnSp>
        <p:nvCxnSpPr>
          <p:cNvPr id="67" name="Straight Arrow Connector 66">
            <a:extLst>
              <a:ext uri="{FF2B5EF4-FFF2-40B4-BE49-F238E27FC236}">
                <a16:creationId xmlns:a16="http://schemas.microsoft.com/office/drawing/2014/main" id="{D6B6165C-0775-1995-8296-D9D775BDEFF0}"/>
              </a:ext>
            </a:extLst>
          </p:cNvPr>
          <p:cNvCxnSpPr>
            <a:cxnSpLocks/>
          </p:cNvCxnSpPr>
          <p:nvPr/>
        </p:nvCxnSpPr>
        <p:spPr>
          <a:xfrm rot="18535998" flipV="1">
            <a:off x="1342796" y="3238206"/>
            <a:ext cx="205802" cy="0"/>
          </a:xfrm>
          <a:prstGeom prst="straightConnector1">
            <a:avLst/>
          </a:prstGeom>
          <a:solidFill>
            <a:srgbClr val="1E49E2"/>
          </a:solidFill>
          <a:ln w="38100" cap="flat" cmpd="sng" algn="ctr">
            <a:solidFill>
              <a:srgbClr val="ACEAFF"/>
            </a:solidFill>
            <a:prstDash val="solid"/>
            <a:miter lim="800000"/>
            <a:tailEnd type="triangle"/>
          </a:ln>
          <a:effectLst/>
        </p:spPr>
      </p:cxnSp>
      <p:cxnSp>
        <p:nvCxnSpPr>
          <p:cNvPr id="68" name="Straight Arrow Connector 67">
            <a:extLst>
              <a:ext uri="{FF2B5EF4-FFF2-40B4-BE49-F238E27FC236}">
                <a16:creationId xmlns:a16="http://schemas.microsoft.com/office/drawing/2014/main" id="{75E0FBD6-E66B-2B08-B606-E673A0B2CB1A}"/>
              </a:ext>
            </a:extLst>
          </p:cNvPr>
          <p:cNvCxnSpPr>
            <a:cxnSpLocks/>
          </p:cNvCxnSpPr>
          <p:nvPr/>
        </p:nvCxnSpPr>
        <p:spPr>
          <a:xfrm rot="18535998" flipH="1" flipV="1">
            <a:off x="1414549" y="3279346"/>
            <a:ext cx="205802" cy="0"/>
          </a:xfrm>
          <a:prstGeom prst="straightConnector1">
            <a:avLst/>
          </a:prstGeom>
          <a:solidFill>
            <a:srgbClr val="1E49E2"/>
          </a:solidFill>
          <a:ln w="38100" cap="flat" cmpd="sng" algn="ctr">
            <a:solidFill>
              <a:srgbClr val="00B8F5"/>
            </a:solidFill>
            <a:prstDash val="solid"/>
            <a:miter lim="800000"/>
            <a:tailEnd type="triangle"/>
          </a:ln>
          <a:effectLst/>
        </p:spPr>
      </p:cxnSp>
      <p:cxnSp>
        <p:nvCxnSpPr>
          <p:cNvPr id="69" name="Straight Arrow Connector 68">
            <a:extLst>
              <a:ext uri="{FF2B5EF4-FFF2-40B4-BE49-F238E27FC236}">
                <a16:creationId xmlns:a16="http://schemas.microsoft.com/office/drawing/2014/main" id="{C27AA042-58B9-2D90-38C1-9A0798476A0B}"/>
              </a:ext>
            </a:extLst>
          </p:cNvPr>
          <p:cNvCxnSpPr>
            <a:cxnSpLocks/>
          </p:cNvCxnSpPr>
          <p:nvPr/>
        </p:nvCxnSpPr>
        <p:spPr>
          <a:xfrm flipV="1">
            <a:off x="1564303" y="2198020"/>
            <a:ext cx="1409" cy="186569"/>
          </a:xfrm>
          <a:prstGeom prst="straightConnector1">
            <a:avLst/>
          </a:prstGeom>
          <a:solidFill>
            <a:srgbClr val="1E49E2"/>
          </a:solidFill>
          <a:ln w="38100" cap="flat" cmpd="sng" algn="ctr">
            <a:solidFill>
              <a:srgbClr val="ACEAFF"/>
            </a:solidFill>
            <a:prstDash val="solid"/>
            <a:miter lim="800000"/>
            <a:tailEnd type="triangle"/>
          </a:ln>
          <a:effectLst/>
        </p:spPr>
      </p:cxnSp>
      <p:cxnSp>
        <p:nvCxnSpPr>
          <p:cNvPr id="70" name="Straight Arrow Connector 69">
            <a:extLst>
              <a:ext uri="{FF2B5EF4-FFF2-40B4-BE49-F238E27FC236}">
                <a16:creationId xmlns:a16="http://schemas.microsoft.com/office/drawing/2014/main" id="{8AE13C94-E918-9391-55E7-662D4C3358B3}"/>
              </a:ext>
            </a:extLst>
          </p:cNvPr>
          <p:cNvCxnSpPr>
            <a:cxnSpLocks/>
          </p:cNvCxnSpPr>
          <p:nvPr/>
        </p:nvCxnSpPr>
        <p:spPr>
          <a:xfrm>
            <a:off x="1662476" y="2228007"/>
            <a:ext cx="0" cy="173626"/>
          </a:xfrm>
          <a:prstGeom prst="straightConnector1">
            <a:avLst/>
          </a:prstGeom>
          <a:solidFill>
            <a:srgbClr val="1E49E2"/>
          </a:solidFill>
          <a:ln w="38100" cap="flat" cmpd="sng" algn="ctr">
            <a:solidFill>
              <a:srgbClr val="00B8F5"/>
            </a:solidFill>
            <a:prstDash val="solid"/>
            <a:miter lim="800000"/>
            <a:tailEnd type="triangle"/>
          </a:ln>
          <a:effectLst/>
        </p:spPr>
      </p:cxnSp>
      <p:cxnSp>
        <p:nvCxnSpPr>
          <p:cNvPr id="71" name="Straight Arrow Connector 70">
            <a:extLst>
              <a:ext uri="{FF2B5EF4-FFF2-40B4-BE49-F238E27FC236}">
                <a16:creationId xmlns:a16="http://schemas.microsoft.com/office/drawing/2014/main" id="{1333BAC4-3D54-5590-6CAF-91F1D1FFEDA4}"/>
              </a:ext>
            </a:extLst>
          </p:cNvPr>
          <p:cNvCxnSpPr>
            <a:cxnSpLocks/>
          </p:cNvCxnSpPr>
          <p:nvPr/>
        </p:nvCxnSpPr>
        <p:spPr>
          <a:xfrm flipV="1">
            <a:off x="775744" y="2192407"/>
            <a:ext cx="1409" cy="186569"/>
          </a:xfrm>
          <a:prstGeom prst="straightConnector1">
            <a:avLst/>
          </a:prstGeom>
          <a:solidFill>
            <a:srgbClr val="1E49E2"/>
          </a:solidFill>
          <a:ln w="38100" cap="flat" cmpd="sng" algn="ctr">
            <a:solidFill>
              <a:srgbClr val="ACEAFF"/>
            </a:solidFill>
            <a:prstDash val="solid"/>
            <a:miter lim="800000"/>
            <a:tailEnd type="triangle"/>
          </a:ln>
          <a:effectLst/>
        </p:spPr>
      </p:cxnSp>
      <p:cxnSp>
        <p:nvCxnSpPr>
          <p:cNvPr id="72" name="Straight Arrow Connector 71">
            <a:extLst>
              <a:ext uri="{FF2B5EF4-FFF2-40B4-BE49-F238E27FC236}">
                <a16:creationId xmlns:a16="http://schemas.microsoft.com/office/drawing/2014/main" id="{95E10273-237C-DEF7-85F5-CAFC41133B4F}"/>
              </a:ext>
            </a:extLst>
          </p:cNvPr>
          <p:cNvCxnSpPr>
            <a:cxnSpLocks/>
          </p:cNvCxnSpPr>
          <p:nvPr/>
        </p:nvCxnSpPr>
        <p:spPr>
          <a:xfrm>
            <a:off x="873917" y="2222394"/>
            <a:ext cx="0" cy="173626"/>
          </a:xfrm>
          <a:prstGeom prst="straightConnector1">
            <a:avLst/>
          </a:prstGeom>
          <a:solidFill>
            <a:srgbClr val="1E49E2"/>
          </a:solidFill>
          <a:ln w="38100" cap="flat" cmpd="sng" algn="ctr">
            <a:solidFill>
              <a:srgbClr val="00B8F5"/>
            </a:solidFill>
            <a:prstDash val="solid"/>
            <a:miter lim="800000"/>
            <a:tailEnd type="triangle"/>
          </a:ln>
          <a:effectLst/>
        </p:spPr>
      </p:cxnSp>
      <p:sp>
        <p:nvSpPr>
          <p:cNvPr id="73" name="TextBox 72">
            <a:extLst>
              <a:ext uri="{FF2B5EF4-FFF2-40B4-BE49-F238E27FC236}">
                <a16:creationId xmlns:a16="http://schemas.microsoft.com/office/drawing/2014/main" id="{A4AF6EAE-048B-793D-CEB1-8188A029C583}"/>
              </a:ext>
            </a:extLst>
          </p:cNvPr>
          <p:cNvSpPr txBox="1"/>
          <p:nvPr/>
        </p:nvSpPr>
        <p:spPr>
          <a:xfrm>
            <a:off x="520355" y="2850715"/>
            <a:ext cx="625441" cy="161583"/>
          </a:xfrm>
          <a:prstGeom prst="rect">
            <a:avLst/>
          </a:prstGeom>
          <a:noFill/>
        </p:spPr>
        <p:txBody>
          <a:bodyPr wrap="square" lIns="0" tIns="0" rIns="0" bIns="0">
            <a:spAutoFit/>
          </a:bodyPr>
          <a:lstStyle/>
          <a:p>
            <a:pPr algn="ctr" defTabSz="685800" eaLnBrk="0" fontAlgn="base" hangingPunct="0">
              <a:spcBef>
                <a:spcPct val="0"/>
              </a:spcBef>
              <a:spcAft>
                <a:spcPct val="0"/>
              </a:spcAft>
              <a:buClrTx/>
              <a:defRPr/>
            </a:pPr>
            <a:r>
              <a:rPr lang="en-US" sz="1050" b="1" dirty="0">
                <a:solidFill>
                  <a:prstClr val="white"/>
                </a:solidFill>
                <a:ea typeface="+mn-ea"/>
                <a:cs typeface="+mn-cs"/>
              </a:rPr>
              <a:t>C2 - ASP</a:t>
            </a:r>
          </a:p>
        </p:txBody>
      </p:sp>
      <p:sp>
        <p:nvSpPr>
          <p:cNvPr id="74" name="TextBox 73">
            <a:extLst>
              <a:ext uri="{FF2B5EF4-FFF2-40B4-BE49-F238E27FC236}">
                <a16:creationId xmlns:a16="http://schemas.microsoft.com/office/drawing/2014/main" id="{876E8D58-CD25-806D-0893-EAB2D0C1678E}"/>
              </a:ext>
            </a:extLst>
          </p:cNvPr>
          <p:cNvSpPr txBox="1"/>
          <p:nvPr/>
        </p:nvSpPr>
        <p:spPr>
          <a:xfrm>
            <a:off x="1340172" y="2834703"/>
            <a:ext cx="625441" cy="161583"/>
          </a:xfrm>
          <a:prstGeom prst="rect">
            <a:avLst/>
          </a:prstGeom>
          <a:noFill/>
        </p:spPr>
        <p:txBody>
          <a:bodyPr wrap="square" lIns="0" tIns="0" rIns="0" bIns="0">
            <a:spAutoFit/>
          </a:bodyPr>
          <a:lstStyle/>
          <a:p>
            <a:pPr algn="ctr" defTabSz="685800" eaLnBrk="0" fontAlgn="base" hangingPunct="0">
              <a:spcBef>
                <a:spcPct val="0"/>
              </a:spcBef>
              <a:spcAft>
                <a:spcPct val="0"/>
              </a:spcAft>
              <a:buClrTx/>
              <a:defRPr/>
            </a:pPr>
            <a:r>
              <a:rPr lang="en-US" sz="1050" b="1" dirty="0">
                <a:solidFill>
                  <a:prstClr val="white"/>
                </a:solidFill>
                <a:ea typeface="+mn-ea"/>
                <a:cs typeface="+mn-cs"/>
              </a:rPr>
              <a:t>C3 - ASP</a:t>
            </a:r>
          </a:p>
        </p:txBody>
      </p:sp>
      <p:sp>
        <p:nvSpPr>
          <p:cNvPr id="75" name="Rectangle 74">
            <a:extLst>
              <a:ext uri="{FF2B5EF4-FFF2-40B4-BE49-F238E27FC236}">
                <a16:creationId xmlns:a16="http://schemas.microsoft.com/office/drawing/2014/main" id="{0B668101-8D93-023F-4D6F-961E6BB50DFC}"/>
              </a:ext>
            </a:extLst>
          </p:cNvPr>
          <p:cNvSpPr>
            <a:spLocks/>
          </p:cNvSpPr>
          <p:nvPr/>
        </p:nvSpPr>
        <p:spPr>
          <a:xfrm>
            <a:off x="565957" y="979593"/>
            <a:ext cx="1299186" cy="286384"/>
          </a:xfrm>
          <a:prstGeom prst="rect">
            <a:avLst/>
          </a:prstGeom>
          <a:solidFill>
            <a:schemeClr val="bg2"/>
          </a:solidFill>
          <a:ln w="12700" cap="flat" cmpd="sng" algn="ctr">
            <a:noFill/>
            <a:prstDash val="solid"/>
            <a:miter lim="800000"/>
          </a:ln>
          <a:effectLst/>
        </p:spPr>
        <p:txBody>
          <a:bodyPr wrap="square" lIns="40958" tIns="40958" rIns="40958" bIns="40958" rtlCol="0" anchor="ctr">
            <a:noAutofit/>
          </a:bodyPr>
          <a:lstStyle/>
          <a:p>
            <a:pPr algn="ctr" defTabSz="685800" eaLnBrk="0" fontAlgn="base" hangingPunct="0">
              <a:spcBef>
                <a:spcPct val="0"/>
              </a:spcBef>
              <a:spcAft>
                <a:spcPct val="0"/>
              </a:spcAft>
              <a:buClrTx/>
              <a:defRPr/>
            </a:pPr>
            <a:r>
              <a:rPr lang="en-US" sz="1050" b="1" dirty="0">
                <a:ea typeface="+mn-ea"/>
                <a:cs typeface="+mn-cs"/>
              </a:rPr>
              <a:t>5-corner model</a:t>
            </a:r>
          </a:p>
        </p:txBody>
      </p:sp>
      <p:pic>
        <p:nvPicPr>
          <p:cNvPr id="76" name="Picture 12" descr="http://www.icone-png.com/png/26/26087.png">
            <a:extLst>
              <a:ext uri="{FF2B5EF4-FFF2-40B4-BE49-F238E27FC236}">
                <a16:creationId xmlns:a16="http://schemas.microsoft.com/office/drawing/2014/main" id="{85295658-5AC5-2E59-FF0A-32711D3E18E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3978" y="2422074"/>
            <a:ext cx="433127" cy="44002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2" descr="http://www.icone-png.com/png/26/26087.png">
            <a:extLst>
              <a:ext uri="{FF2B5EF4-FFF2-40B4-BE49-F238E27FC236}">
                <a16:creationId xmlns:a16="http://schemas.microsoft.com/office/drawing/2014/main" id="{5C30FDF9-7CAF-25C3-B31A-D260FCBDEC1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17942" y="2420145"/>
            <a:ext cx="433127" cy="440021"/>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24A42498-1BB3-A6C6-9233-5DC7324A2BD4}"/>
              </a:ext>
            </a:extLst>
          </p:cNvPr>
          <p:cNvSpPr txBox="1"/>
          <p:nvPr/>
        </p:nvSpPr>
        <p:spPr>
          <a:xfrm>
            <a:off x="589777" y="3798459"/>
            <a:ext cx="1261292" cy="161583"/>
          </a:xfrm>
          <a:prstGeom prst="rect">
            <a:avLst/>
          </a:prstGeom>
          <a:noFill/>
        </p:spPr>
        <p:txBody>
          <a:bodyPr wrap="square" lIns="0" tIns="0" rIns="0" bIns="0">
            <a:spAutoFit/>
          </a:bodyPr>
          <a:lstStyle/>
          <a:p>
            <a:pPr algn="ctr" defTabSz="685800" eaLnBrk="0" fontAlgn="base" hangingPunct="0">
              <a:spcBef>
                <a:spcPct val="0"/>
              </a:spcBef>
              <a:spcAft>
                <a:spcPct val="0"/>
              </a:spcAft>
              <a:buClrTx/>
              <a:defRPr/>
            </a:pPr>
            <a:r>
              <a:rPr lang="en-US" sz="1050" b="1" dirty="0">
                <a:solidFill>
                  <a:prstClr val="white"/>
                </a:solidFill>
                <a:ea typeface="+mn-ea"/>
                <a:cs typeface="+mn-cs"/>
              </a:rPr>
              <a:t>C5 - FTA</a:t>
            </a:r>
          </a:p>
        </p:txBody>
      </p:sp>
      <p:grpSp>
        <p:nvGrpSpPr>
          <p:cNvPr id="97" name="Group 96">
            <a:extLst>
              <a:ext uri="{FF2B5EF4-FFF2-40B4-BE49-F238E27FC236}">
                <a16:creationId xmlns:a16="http://schemas.microsoft.com/office/drawing/2014/main" id="{36898386-A83C-0C93-F5E7-DE450563DA1A}"/>
              </a:ext>
            </a:extLst>
          </p:cNvPr>
          <p:cNvGrpSpPr/>
          <p:nvPr/>
        </p:nvGrpSpPr>
        <p:grpSpPr>
          <a:xfrm>
            <a:off x="5505469" y="2640156"/>
            <a:ext cx="284028" cy="410375"/>
            <a:chOff x="8190938" y="2882569"/>
            <a:chExt cx="378704" cy="547167"/>
          </a:xfrm>
          <a:solidFill>
            <a:srgbClr val="B497FF"/>
          </a:solidFill>
        </p:grpSpPr>
        <p:sp>
          <p:nvSpPr>
            <p:cNvPr id="98" name="Freeform: Shape 97">
              <a:extLst>
                <a:ext uri="{FF2B5EF4-FFF2-40B4-BE49-F238E27FC236}">
                  <a16:creationId xmlns:a16="http://schemas.microsoft.com/office/drawing/2014/main" id="{5F8FF604-841B-A5A1-0E7F-252249E191F5}"/>
                </a:ext>
              </a:extLst>
            </p:cNvPr>
            <p:cNvSpPr/>
            <p:nvPr/>
          </p:nvSpPr>
          <p:spPr>
            <a:xfrm>
              <a:off x="8224921" y="2912124"/>
              <a:ext cx="19722" cy="473293"/>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99" name="Graphic 17">
              <a:extLst>
                <a:ext uri="{FF2B5EF4-FFF2-40B4-BE49-F238E27FC236}">
                  <a16:creationId xmlns:a16="http://schemas.microsoft.com/office/drawing/2014/main" id="{DE5EB0FB-32E5-AE9D-4040-0EC68FCA3918}"/>
                </a:ext>
              </a:extLst>
            </p:cNvPr>
            <p:cNvGrpSpPr/>
            <p:nvPr/>
          </p:nvGrpSpPr>
          <p:grpSpPr>
            <a:xfrm>
              <a:off x="8220173" y="2882569"/>
              <a:ext cx="29219" cy="532403"/>
              <a:chOff x="4653788" y="4128862"/>
              <a:chExt cx="328555" cy="5922160"/>
            </a:xfrm>
            <a:grpFill/>
          </p:grpSpPr>
          <p:sp>
            <p:nvSpPr>
              <p:cNvPr id="105" name="Freeform: Shape 104">
                <a:extLst>
                  <a:ext uri="{FF2B5EF4-FFF2-40B4-BE49-F238E27FC236}">
                    <a16:creationId xmlns:a16="http://schemas.microsoft.com/office/drawing/2014/main" id="{2AFEB9D5-0534-5F25-6F21-8139258174E8}"/>
                  </a:ext>
                </a:extLst>
              </p:cNvPr>
              <p:cNvSpPr/>
              <p:nvPr/>
            </p:nvSpPr>
            <p:spPr>
              <a:xfrm>
                <a:off x="4653788" y="412886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06" name="Freeform: Shape 105">
                <a:extLst>
                  <a:ext uri="{FF2B5EF4-FFF2-40B4-BE49-F238E27FC236}">
                    <a16:creationId xmlns:a16="http://schemas.microsoft.com/office/drawing/2014/main" id="{40B9A291-A59E-8DEE-0469-D17C07F10886}"/>
                  </a:ext>
                </a:extLst>
              </p:cNvPr>
              <p:cNvSpPr/>
              <p:nvPr/>
            </p:nvSpPr>
            <p:spPr>
              <a:xfrm>
                <a:off x="4653788" y="972226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100" name="Freeform: Shape 99">
              <a:extLst>
                <a:ext uri="{FF2B5EF4-FFF2-40B4-BE49-F238E27FC236}">
                  <a16:creationId xmlns:a16="http://schemas.microsoft.com/office/drawing/2014/main" id="{00950E68-63C9-1610-DB23-269DC40B765F}"/>
                </a:ext>
              </a:extLst>
            </p:cNvPr>
            <p:cNvSpPr/>
            <p:nvPr/>
          </p:nvSpPr>
          <p:spPr>
            <a:xfrm>
              <a:off x="8190938" y="3414967"/>
              <a:ext cx="87694" cy="14769"/>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01" name="Freeform: Shape 100">
              <a:extLst>
                <a:ext uri="{FF2B5EF4-FFF2-40B4-BE49-F238E27FC236}">
                  <a16:creationId xmlns:a16="http://schemas.microsoft.com/office/drawing/2014/main" id="{63D47DBD-0FC5-CFA4-DA12-C20C69CBDE25}"/>
                </a:ext>
              </a:extLst>
            </p:cNvPr>
            <p:cNvSpPr/>
            <p:nvPr/>
          </p:nvSpPr>
          <p:spPr>
            <a:xfrm>
              <a:off x="8386950" y="2956447"/>
              <a:ext cx="182692" cy="164932"/>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02" name="Freeform: Shape 101">
              <a:extLst>
                <a:ext uri="{FF2B5EF4-FFF2-40B4-BE49-F238E27FC236}">
                  <a16:creationId xmlns:a16="http://schemas.microsoft.com/office/drawing/2014/main" id="{ADDDA20E-B67A-0A90-1523-AF74DAD3E036}"/>
                </a:ext>
              </a:extLst>
            </p:cNvPr>
            <p:cNvSpPr/>
            <p:nvPr/>
          </p:nvSpPr>
          <p:spPr>
            <a:xfrm>
              <a:off x="8386950" y="2956447"/>
              <a:ext cx="74994" cy="164932"/>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03" name="Freeform: Shape 102">
              <a:extLst>
                <a:ext uri="{FF2B5EF4-FFF2-40B4-BE49-F238E27FC236}">
                  <a16:creationId xmlns:a16="http://schemas.microsoft.com/office/drawing/2014/main" id="{3C34568B-D67A-81F6-223C-5C468B17109D}"/>
                </a:ext>
              </a:extLst>
            </p:cNvPr>
            <p:cNvSpPr/>
            <p:nvPr/>
          </p:nvSpPr>
          <p:spPr>
            <a:xfrm>
              <a:off x="8244642" y="2923635"/>
              <a:ext cx="182692" cy="164918"/>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04" name="Freeform: Shape 103">
              <a:extLst>
                <a:ext uri="{FF2B5EF4-FFF2-40B4-BE49-F238E27FC236}">
                  <a16:creationId xmlns:a16="http://schemas.microsoft.com/office/drawing/2014/main" id="{E2F137BC-2511-DAA2-5CC9-B1273E68D1BD}"/>
                </a:ext>
              </a:extLst>
            </p:cNvPr>
            <p:cNvSpPr/>
            <p:nvPr/>
          </p:nvSpPr>
          <p:spPr>
            <a:xfrm>
              <a:off x="8386950" y="3088550"/>
              <a:ext cx="40385" cy="32845"/>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107" name="Rectangle: Rounded Corners 106">
            <a:extLst>
              <a:ext uri="{FF2B5EF4-FFF2-40B4-BE49-F238E27FC236}">
                <a16:creationId xmlns:a16="http://schemas.microsoft.com/office/drawing/2014/main" id="{8D750B89-BB45-4083-A3AC-4E0B612C47C5}"/>
              </a:ext>
            </a:extLst>
          </p:cNvPr>
          <p:cNvSpPr/>
          <p:nvPr/>
        </p:nvSpPr>
        <p:spPr>
          <a:xfrm>
            <a:off x="5997237" y="2670322"/>
            <a:ext cx="1549260" cy="307064"/>
          </a:xfrm>
          <a:prstGeom prst="round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srgbClr val="000000"/>
                </a:solidFill>
                <a:latin typeface="Arial"/>
                <a:cs typeface="Arial"/>
              </a:rPr>
              <a:t>1 Jan 2027</a:t>
            </a:r>
          </a:p>
        </p:txBody>
      </p:sp>
      <p:sp>
        <p:nvSpPr>
          <p:cNvPr id="108" name="TextBox 59">
            <a:extLst>
              <a:ext uri="{FF2B5EF4-FFF2-40B4-BE49-F238E27FC236}">
                <a16:creationId xmlns:a16="http://schemas.microsoft.com/office/drawing/2014/main" id="{75E397E8-CBD2-8734-4110-F1579621573E}"/>
              </a:ext>
            </a:extLst>
          </p:cNvPr>
          <p:cNvSpPr txBox="1"/>
          <p:nvPr/>
        </p:nvSpPr>
        <p:spPr>
          <a:xfrm>
            <a:off x="5948485" y="2910139"/>
            <a:ext cx="2855357" cy="50481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b="1" dirty="0">
                <a:solidFill>
                  <a:srgbClr val="000000"/>
                </a:solidFill>
                <a:latin typeface="Arial"/>
                <a:cs typeface="Arial"/>
              </a:rPr>
              <a:t>Go Live for Phase 1 entities</a:t>
            </a:r>
          </a:p>
          <a:p>
            <a:pPr defTabSz="685800">
              <a:lnSpc>
                <a:spcPct val="110000"/>
              </a:lnSpc>
              <a:spcAft>
                <a:spcPts val="225"/>
              </a:spcAft>
              <a:buClrTx/>
              <a:defRPr/>
            </a:pPr>
            <a:endParaRPr lang="en-GB" sz="1200" dirty="0">
              <a:solidFill>
                <a:srgbClr val="000000"/>
              </a:solidFill>
              <a:latin typeface="Arial"/>
              <a:cs typeface="Arial"/>
            </a:endParaRPr>
          </a:p>
        </p:txBody>
      </p:sp>
      <p:sp>
        <p:nvSpPr>
          <p:cNvPr id="109" name="TextBox 59">
            <a:extLst>
              <a:ext uri="{FF2B5EF4-FFF2-40B4-BE49-F238E27FC236}">
                <a16:creationId xmlns:a16="http://schemas.microsoft.com/office/drawing/2014/main" id="{D0C942FE-86E6-7AC7-786E-6AC0910E8EEC}"/>
              </a:ext>
            </a:extLst>
          </p:cNvPr>
          <p:cNvSpPr txBox="1"/>
          <p:nvPr/>
        </p:nvSpPr>
        <p:spPr>
          <a:xfrm>
            <a:off x="4399225" y="486308"/>
            <a:ext cx="2855357" cy="50481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b="1" dirty="0">
                <a:solidFill>
                  <a:srgbClr val="000000"/>
                </a:solidFill>
                <a:latin typeface="Arial"/>
                <a:cs typeface="Arial"/>
              </a:rPr>
              <a:t>Go Live for government entities</a:t>
            </a:r>
          </a:p>
          <a:p>
            <a:pPr defTabSz="685800">
              <a:lnSpc>
                <a:spcPct val="110000"/>
              </a:lnSpc>
              <a:spcAft>
                <a:spcPts val="225"/>
              </a:spcAft>
              <a:buClrTx/>
              <a:defRPr/>
            </a:pPr>
            <a:endParaRPr lang="en-GB" sz="1200" dirty="0">
              <a:solidFill>
                <a:srgbClr val="000000"/>
              </a:solidFill>
              <a:latin typeface="Arial"/>
              <a:cs typeface="Arial"/>
            </a:endParaRPr>
          </a:p>
        </p:txBody>
      </p:sp>
      <p:grpSp>
        <p:nvGrpSpPr>
          <p:cNvPr id="110" name="Group 109">
            <a:extLst>
              <a:ext uri="{FF2B5EF4-FFF2-40B4-BE49-F238E27FC236}">
                <a16:creationId xmlns:a16="http://schemas.microsoft.com/office/drawing/2014/main" id="{7E8D1B0C-BF3A-B917-2EB1-9AD981BD27A2}"/>
              </a:ext>
            </a:extLst>
          </p:cNvPr>
          <p:cNvGrpSpPr/>
          <p:nvPr/>
        </p:nvGrpSpPr>
        <p:grpSpPr>
          <a:xfrm>
            <a:off x="5384339" y="1749262"/>
            <a:ext cx="284028" cy="410375"/>
            <a:chOff x="8190938" y="2882569"/>
            <a:chExt cx="378704" cy="547167"/>
          </a:xfrm>
          <a:solidFill>
            <a:srgbClr val="00C0AE"/>
          </a:solidFill>
        </p:grpSpPr>
        <p:sp>
          <p:nvSpPr>
            <p:cNvPr id="111" name="Freeform: Shape 110">
              <a:extLst>
                <a:ext uri="{FF2B5EF4-FFF2-40B4-BE49-F238E27FC236}">
                  <a16:creationId xmlns:a16="http://schemas.microsoft.com/office/drawing/2014/main" id="{31BF7E2A-E1E9-A105-CAB3-BC6224B983F3}"/>
                </a:ext>
              </a:extLst>
            </p:cNvPr>
            <p:cNvSpPr/>
            <p:nvPr/>
          </p:nvSpPr>
          <p:spPr>
            <a:xfrm>
              <a:off x="8224921" y="2912124"/>
              <a:ext cx="19722" cy="473293"/>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112" name="Graphic 17">
              <a:extLst>
                <a:ext uri="{FF2B5EF4-FFF2-40B4-BE49-F238E27FC236}">
                  <a16:creationId xmlns:a16="http://schemas.microsoft.com/office/drawing/2014/main" id="{2063825A-9F74-C889-5D56-53A2680F29E5}"/>
                </a:ext>
              </a:extLst>
            </p:cNvPr>
            <p:cNvGrpSpPr/>
            <p:nvPr/>
          </p:nvGrpSpPr>
          <p:grpSpPr>
            <a:xfrm>
              <a:off x="8220173" y="2882569"/>
              <a:ext cx="29219" cy="532403"/>
              <a:chOff x="4653788" y="4128862"/>
              <a:chExt cx="328555" cy="5922160"/>
            </a:xfrm>
            <a:grpFill/>
          </p:grpSpPr>
          <p:sp>
            <p:nvSpPr>
              <p:cNvPr id="118" name="Freeform: Shape 117">
                <a:extLst>
                  <a:ext uri="{FF2B5EF4-FFF2-40B4-BE49-F238E27FC236}">
                    <a16:creationId xmlns:a16="http://schemas.microsoft.com/office/drawing/2014/main" id="{0D4FA84B-B3E9-E654-2D39-F58504A43F56}"/>
                  </a:ext>
                </a:extLst>
              </p:cNvPr>
              <p:cNvSpPr/>
              <p:nvPr/>
            </p:nvSpPr>
            <p:spPr>
              <a:xfrm>
                <a:off x="4653788" y="412886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19" name="Freeform: Shape 118">
                <a:extLst>
                  <a:ext uri="{FF2B5EF4-FFF2-40B4-BE49-F238E27FC236}">
                    <a16:creationId xmlns:a16="http://schemas.microsoft.com/office/drawing/2014/main" id="{4E7CBC5D-66B4-BBE6-4E8C-4696B031D02F}"/>
                  </a:ext>
                </a:extLst>
              </p:cNvPr>
              <p:cNvSpPr/>
              <p:nvPr/>
            </p:nvSpPr>
            <p:spPr>
              <a:xfrm>
                <a:off x="4653788" y="972226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113" name="Freeform: Shape 112">
              <a:extLst>
                <a:ext uri="{FF2B5EF4-FFF2-40B4-BE49-F238E27FC236}">
                  <a16:creationId xmlns:a16="http://schemas.microsoft.com/office/drawing/2014/main" id="{1079E449-E39C-920D-C8B2-65E8C52F0AB1}"/>
                </a:ext>
              </a:extLst>
            </p:cNvPr>
            <p:cNvSpPr/>
            <p:nvPr/>
          </p:nvSpPr>
          <p:spPr>
            <a:xfrm>
              <a:off x="8190938" y="3414967"/>
              <a:ext cx="87694" cy="14769"/>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14" name="Freeform: Shape 113">
              <a:extLst>
                <a:ext uri="{FF2B5EF4-FFF2-40B4-BE49-F238E27FC236}">
                  <a16:creationId xmlns:a16="http://schemas.microsoft.com/office/drawing/2014/main" id="{72C60E90-1745-31F6-A3A8-0F70CE1935AE}"/>
                </a:ext>
              </a:extLst>
            </p:cNvPr>
            <p:cNvSpPr/>
            <p:nvPr/>
          </p:nvSpPr>
          <p:spPr>
            <a:xfrm>
              <a:off x="8386950" y="2956447"/>
              <a:ext cx="182692" cy="164932"/>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15" name="Freeform: Shape 114">
              <a:extLst>
                <a:ext uri="{FF2B5EF4-FFF2-40B4-BE49-F238E27FC236}">
                  <a16:creationId xmlns:a16="http://schemas.microsoft.com/office/drawing/2014/main" id="{89B2683C-0AEE-9FA8-25DB-4B4F12D98715}"/>
                </a:ext>
              </a:extLst>
            </p:cNvPr>
            <p:cNvSpPr/>
            <p:nvPr/>
          </p:nvSpPr>
          <p:spPr>
            <a:xfrm>
              <a:off x="8386950" y="2956447"/>
              <a:ext cx="74994" cy="164932"/>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16" name="Freeform: Shape 115">
              <a:extLst>
                <a:ext uri="{FF2B5EF4-FFF2-40B4-BE49-F238E27FC236}">
                  <a16:creationId xmlns:a16="http://schemas.microsoft.com/office/drawing/2014/main" id="{F2A834CF-AE2A-FAC2-ACB1-45C1BE2C45AD}"/>
                </a:ext>
              </a:extLst>
            </p:cNvPr>
            <p:cNvSpPr/>
            <p:nvPr/>
          </p:nvSpPr>
          <p:spPr>
            <a:xfrm>
              <a:off x="8244642" y="2923635"/>
              <a:ext cx="182692" cy="164918"/>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17" name="Freeform: Shape 116">
              <a:extLst>
                <a:ext uri="{FF2B5EF4-FFF2-40B4-BE49-F238E27FC236}">
                  <a16:creationId xmlns:a16="http://schemas.microsoft.com/office/drawing/2014/main" id="{5C3B726F-70A9-570D-F974-D6850A45BF52}"/>
                </a:ext>
              </a:extLst>
            </p:cNvPr>
            <p:cNvSpPr/>
            <p:nvPr/>
          </p:nvSpPr>
          <p:spPr>
            <a:xfrm>
              <a:off x="8386950" y="3088550"/>
              <a:ext cx="40385" cy="32845"/>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120" name="Rectangle: Rounded Corners 119">
            <a:extLst>
              <a:ext uri="{FF2B5EF4-FFF2-40B4-BE49-F238E27FC236}">
                <a16:creationId xmlns:a16="http://schemas.microsoft.com/office/drawing/2014/main" id="{5DD8B59A-036C-5783-1D12-FFD76EE7E213}"/>
              </a:ext>
            </a:extLst>
          </p:cNvPr>
          <p:cNvSpPr/>
          <p:nvPr/>
        </p:nvSpPr>
        <p:spPr>
          <a:xfrm>
            <a:off x="5826903" y="1848869"/>
            <a:ext cx="1549260" cy="264577"/>
          </a:xfrm>
          <a:prstGeom prst="round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prstClr val="white"/>
                </a:solidFill>
                <a:latin typeface="Arial"/>
                <a:cs typeface="Arial"/>
              </a:rPr>
              <a:t>31 Mar 2027</a:t>
            </a:r>
          </a:p>
        </p:txBody>
      </p:sp>
      <p:sp>
        <p:nvSpPr>
          <p:cNvPr id="121" name="TextBox 59">
            <a:extLst>
              <a:ext uri="{FF2B5EF4-FFF2-40B4-BE49-F238E27FC236}">
                <a16:creationId xmlns:a16="http://schemas.microsoft.com/office/drawing/2014/main" id="{5152F22F-E742-34D9-9675-74B0AFD06CAC}"/>
              </a:ext>
            </a:extLst>
          </p:cNvPr>
          <p:cNvSpPr txBox="1"/>
          <p:nvPr/>
        </p:nvSpPr>
        <p:spPr>
          <a:xfrm>
            <a:off x="5885194" y="2030314"/>
            <a:ext cx="3192659" cy="68255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b="1" dirty="0">
                <a:solidFill>
                  <a:srgbClr val="000000"/>
                </a:solidFill>
                <a:latin typeface="Arial"/>
                <a:cs typeface="Arial"/>
              </a:rPr>
              <a:t>ASP appointment for Phase 2 – below 50mn &amp; government entities</a:t>
            </a:r>
          </a:p>
          <a:p>
            <a:pPr defTabSz="685800">
              <a:lnSpc>
                <a:spcPct val="110000"/>
              </a:lnSpc>
              <a:spcAft>
                <a:spcPts val="225"/>
              </a:spcAft>
              <a:buClrTx/>
              <a:defRPr/>
            </a:pPr>
            <a:endParaRPr lang="en-GB" sz="1200" dirty="0">
              <a:solidFill>
                <a:srgbClr val="000000"/>
              </a:solidFill>
              <a:latin typeface="Arial"/>
              <a:cs typeface="Arial"/>
            </a:endParaRPr>
          </a:p>
        </p:txBody>
      </p:sp>
      <p:grpSp>
        <p:nvGrpSpPr>
          <p:cNvPr id="122" name="Group 121">
            <a:extLst>
              <a:ext uri="{FF2B5EF4-FFF2-40B4-BE49-F238E27FC236}">
                <a16:creationId xmlns:a16="http://schemas.microsoft.com/office/drawing/2014/main" id="{60FAE639-4EE4-A801-113D-5A217A5C9B1D}"/>
              </a:ext>
            </a:extLst>
          </p:cNvPr>
          <p:cNvGrpSpPr/>
          <p:nvPr/>
        </p:nvGrpSpPr>
        <p:grpSpPr>
          <a:xfrm>
            <a:off x="4079675" y="963911"/>
            <a:ext cx="306891" cy="410375"/>
            <a:chOff x="5709492" y="1522552"/>
            <a:chExt cx="4258379" cy="6086389"/>
          </a:xfrm>
          <a:solidFill>
            <a:srgbClr val="AB0D82"/>
          </a:solidFill>
        </p:grpSpPr>
        <p:sp>
          <p:nvSpPr>
            <p:cNvPr id="123" name="Freeform: Shape 122">
              <a:extLst>
                <a:ext uri="{FF2B5EF4-FFF2-40B4-BE49-F238E27FC236}">
                  <a16:creationId xmlns:a16="http://schemas.microsoft.com/office/drawing/2014/main" id="{7A18621A-8C2A-9DE3-634E-8E244CEBC278}"/>
                </a:ext>
              </a:extLst>
            </p:cNvPr>
            <p:cNvSpPr/>
            <p:nvPr/>
          </p:nvSpPr>
          <p:spPr>
            <a:xfrm>
              <a:off x="6091615" y="1851306"/>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nvGrpSpPr>
            <p:cNvPr id="124" name="Graphic 17">
              <a:extLst>
                <a:ext uri="{FF2B5EF4-FFF2-40B4-BE49-F238E27FC236}">
                  <a16:creationId xmlns:a16="http://schemas.microsoft.com/office/drawing/2014/main" id="{B858A8D0-C061-24E7-5F7B-39997B2D452A}"/>
                </a:ext>
              </a:extLst>
            </p:cNvPr>
            <p:cNvGrpSpPr/>
            <p:nvPr/>
          </p:nvGrpSpPr>
          <p:grpSpPr>
            <a:xfrm>
              <a:off x="6038228" y="1522552"/>
              <a:ext cx="328555" cy="5922160"/>
              <a:chOff x="6038228" y="1522552"/>
              <a:chExt cx="328555" cy="5922160"/>
            </a:xfrm>
            <a:grpFill/>
          </p:grpSpPr>
          <p:sp>
            <p:nvSpPr>
              <p:cNvPr id="130" name="Freeform: Shape 129">
                <a:extLst>
                  <a:ext uri="{FF2B5EF4-FFF2-40B4-BE49-F238E27FC236}">
                    <a16:creationId xmlns:a16="http://schemas.microsoft.com/office/drawing/2014/main" id="{8663D3AF-72EB-B29E-471F-7775AF484BC7}"/>
                  </a:ext>
                </a:extLst>
              </p:cNvPr>
              <p:cNvSpPr/>
              <p:nvPr/>
            </p:nvSpPr>
            <p:spPr>
              <a:xfrm>
                <a:off x="6038228" y="1522552"/>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31" name="Freeform: Shape 130">
                <a:extLst>
                  <a:ext uri="{FF2B5EF4-FFF2-40B4-BE49-F238E27FC236}">
                    <a16:creationId xmlns:a16="http://schemas.microsoft.com/office/drawing/2014/main" id="{AD3FB49F-7041-858C-8322-A827DAE0AFD6}"/>
                  </a:ext>
                </a:extLst>
              </p:cNvPr>
              <p:cNvSpPr/>
              <p:nvPr/>
            </p:nvSpPr>
            <p:spPr>
              <a:xfrm>
                <a:off x="6038228" y="7115957"/>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125" name="Freeform: Shape 124">
              <a:extLst>
                <a:ext uri="{FF2B5EF4-FFF2-40B4-BE49-F238E27FC236}">
                  <a16:creationId xmlns:a16="http://schemas.microsoft.com/office/drawing/2014/main" id="{AF62C67D-76BA-133C-2486-306C6D1A87AA}"/>
                </a:ext>
              </a:extLst>
            </p:cNvPr>
            <p:cNvSpPr/>
            <p:nvPr/>
          </p:nvSpPr>
          <p:spPr>
            <a:xfrm>
              <a:off x="5709492" y="7444654"/>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26" name="Freeform: Shape 125">
              <a:extLst>
                <a:ext uri="{FF2B5EF4-FFF2-40B4-BE49-F238E27FC236}">
                  <a16:creationId xmlns:a16="http://schemas.microsoft.com/office/drawing/2014/main" id="{7022AFB3-3474-691F-92B2-9641F3055050}"/>
                </a:ext>
              </a:extLst>
            </p:cNvPr>
            <p:cNvSpPr/>
            <p:nvPr/>
          </p:nvSpPr>
          <p:spPr>
            <a:xfrm>
              <a:off x="7913567" y="2344330"/>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27" name="Freeform: Shape 126">
              <a:extLst>
                <a:ext uri="{FF2B5EF4-FFF2-40B4-BE49-F238E27FC236}">
                  <a16:creationId xmlns:a16="http://schemas.microsoft.com/office/drawing/2014/main" id="{3DB9ABA4-726A-83E9-1B4E-9FCFFC9F50E0}"/>
                </a:ext>
              </a:extLst>
            </p:cNvPr>
            <p:cNvSpPr/>
            <p:nvPr/>
          </p:nvSpPr>
          <p:spPr>
            <a:xfrm>
              <a:off x="7913567" y="2344330"/>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28" name="Freeform: Shape 127">
              <a:extLst>
                <a:ext uri="{FF2B5EF4-FFF2-40B4-BE49-F238E27FC236}">
                  <a16:creationId xmlns:a16="http://schemas.microsoft.com/office/drawing/2014/main" id="{6E70B15B-8549-CC71-72E7-37930BC43876}"/>
                </a:ext>
              </a:extLst>
            </p:cNvPr>
            <p:cNvSpPr/>
            <p:nvPr/>
          </p:nvSpPr>
          <p:spPr>
            <a:xfrm>
              <a:off x="6313377" y="1979351"/>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sp>
          <p:nvSpPr>
            <p:cNvPr id="129" name="Freeform: Shape 128">
              <a:extLst>
                <a:ext uri="{FF2B5EF4-FFF2-40B4-BE49-F238E27FC236}">
                  <a16:creationId xmlns:a16="http://schemas.microsoft.com/office/drawing/2014/main" id="{4E9DD508-310F-4F29-08A6-BC6B7AE30F7D}"/>
                </a:ext>
              </a:extLst>
            </p:cNvPr>
            <p:cNvSpPr/>
            <p:nvPr/>
          </p:nvSpPr>
          <p:spPr>
            <a:xfrm>
              <a:off x="7913567" y="3813771"/>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endParaRPr lang="en-GB" sz="1350" dirty="0">
                <a:solidFill>
                  <a:srgbClr val="000000"/>
                </a:solidFill>
                <a:latin typeface="Arial"/>
              </a:endParaRPr>
            </a:p>
          </p:txBody>
        </p:sp>
      </p:grpSp>
      <p:sp>
        <p:nvSpPr>
          <p:cNvPr id="132" name="Rectangle: Rounded Corners 131">
            <a:extLst>
              <a:ext uri="{FF2B5EF4-FFF2-40B4-BE49-F238E27FC236}">
                <a16:creationId xmlns:a16="http://schemas.microsoft.com/office/drawing/2014/main" id="{8918838A-F04B-612A-D5AE-660246DE7E42}"/>
              </a:ext>
            </a:extLst>
          </p:cNvPr>
          <p:cNvSpPr/>
          <p:nvPr/>
        </p:nvSpPr>
        <p:spPr>
          <a:xfrm>
            <a:off x="4553476" y="1042689"/>
            <a:ext cx="1295315" cy="241436"/>
          </a:xfrm>
          <a:prstGeom prst="round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buClrTx/>
              <a:defRPr/>
            </a:pPr>
            <a:r>
              <a:rPr lang="en-GB" sz="1200" b="1" dirty="0">
                <a:solidFill>
                  <a:prstClr val="white"/>
                </a:solidFill>
                <a:latin typeface="Arial"/>
              </a:rPr>
              <a:t>1 July 2027</a:t>
            </a:r>
          </a:p>
        </p:txBody>
      </p:sp>
      <p:sp>
        <p:nvSpPr>
          <p:cNvPr id="133" name="TextBox 59">
            <a:extLst>
              <a:ext uri="{FF2B5EF4-FFF2-40B4-BE49-F238E27FC236}">
                <a16:creationId xmlns:a16="http://schemas.microsoft.com/office/drawing/2014/main" id="{34CB011E-F543-3F5D-7DDE-ECE02DE169E4}"/>
              </a:ext>
            </a:extLst>
          </p:cNvPr>
          <p:cNvSpPr txBox="1"/>
          <p:nvPr/>
        </p:nvSpPr>
        <p:spPr>
          <a:xfrm>
            <a:off x="4891985" y="1236280"/>
            <a:ext cx="2855357" cy="50481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b="1" dirty="0">
                <a:solidFill>
                  <a:srgbClr val="000000"/>
                </a:solidFill>
                <a:latin typeface="Arial"/>
                <a:cs typeface="Arial"/>
              </a:rPr>
              <a:t>Go Live for Phase 2 entities</a:t>
            </a:r>
          </a:p>
          <a:p>
            <a:pPr defTabSz="685800">
              <a:lnSpc>
                <a:spcPct val="110000"/>
              </a:lnSpc>
              <a:spcAft>
                <a:spcPts val="225"/>
              </a:spcAft>
              <a:buClrTx/>
              <a:defRPr/>
            </a:pPr>
            <a:endParaRPr lang="en-GB" sz="1200" dirty="0">
              <a:solidFill>
                <a:srgbClr val="000000"/>
              </a:solidFill>
              <a:latin typeface="Arial"/>
              <a:cs typeface="Arial"/>
            </a:endParaRPr>
          </a:p>
        </p:txBody>
      </p:sp>
      <p:sp>
        <p:nvSpPr>
          <p:cNvPr id="134" name="TextBox 59">
            <a:extLst>
              <a:ext uri="{FF2B5EF4-FFF2-40B4-BE49-F238E27FC236}">
                <a16:creationId xmlns:a16="http://schemas.microsoft.com/office/drawing/2014/main" id="{6BF41B42-4A16-42FB-628A-8F33928050D4}"/>
              </a:ext>
            </a:extLst>
          </p:cNvPr>
          <p:cNvSpPr txBox="1"/>
          <p:nvPr/>
        </p:nvSpPr>
        <p:spPr>
          <a:xfrm>
            <a:off x="5441071" y="4522553"/>
            <a:ext cx="2306271" cy="457882"/>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buClrTx/>
              <a:defRPr/>
            </a:pPr>
            <a:endParaRPr lang="en-GB" sz="825" dirty="0">
              <a:solidFill>
                <a:srgbClr val="000000"/>
              </a:solidFill>
              <a:latin typeface="Arial"/>
              <a:cs typeface="Arial"/>
            </a:endParaRPr>
          </a:p>
          <a:p>
            <a:pPr marL="128588" indent="-128588" defTabSz="685800">
              <a:lnSpc>
                <a:spcPct val="110000"/>
              </a:lnSpc>
              <a:buClrTx/>
              <a:buFont typeface="Arial" panose="020B0604020202020204" pitchFamily="34" charset="0"/>
              <a:buChar char="•"/>
              <a:defRPr/>
            </a:pPr>
            <a:r>
              <a:rPr lang="en-GB" sz="1050" b="1" dirty="0">
                <a:solidFill>
                  <a:srgbClr val="000000"/>
                </a:solidFill>
                <a:latin typeface="Arial"/>
                <a:cs typeface="Arial"/>
              </a:rPr>
              <a:t>Pilot mode for select companies</a:t>
            </a:r>
          </a:p>
          <a:p>
            <a:pPr defTabSz="685800">
              <a:lnSpc>
                <a:spcPct val="110000"/>
              </a:lnSpc>
              <a:spcAft>
                <a:spcPts val="225"/>
              </a:spcAft>
              <a:buClrTx/>
              <a:defRPr/>
            </a:pPr>
            <a:endParaRPr lang="en-GB" sz="900" dirty="0">
              <a:solidFill>
                <a:srgbClr val="000000"/>
              </a:solidFill>
              <a:latin typeface="Arial"/>
              <a:cs typeface="Arial"/>
            </a:endParaRPr>
          </a:p>
        </p:txBody>
      </p:sp>
    </p:spTree>
    <p:extLst>
      <p:ext uri="{BB962C8B-B14F-4D97-AF65-F5344CB8AC3E}">
        <p14:creationId xmlns:p14="http://schemas.microsoft.com/office/powerpoint/2010/main" val="1879373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flash/>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8000">
              <a:srgbClr val="FFC000"/>
            </a:gs>
            <a:gs pos="100000">
              <a:schemeClr val="accent3">
                <a:lumMod val="45000"/>
                <a:lumOff val="55000"/>
              </a:schemeClr>
            </a:gs>
            <a:gs pos="83000">
              <a:schemeClr val="accent3">
                <a:lumMod val="45000"/>
                <a:lumOff val="55000"/>
              </a:schemeClr>
            </a:gs>
            <a:gs pos="100000">
              <a:schemeClr val="accent3">
                <a:lumMod val="30000"/>
                <a:lumOff val="70000"/>
              </a:schemeClr>
            </a:gs>
          </a:gsLst>
          <a:lin ang="5400000" scaled="1"/>
        </a:gradFill>
        <a:effectLst/>
      </p:bgPr>
    </p:bg>
    <p:spTree>
      <p:nvGrpSpPr>
        <p:cNvPr id="1" name="Shape 156">
          <a:extLst>
            <a:ext uri="{FF2B5EF4-FFF2-40B4-BE49-F238E27FC236}">
              <a16:creationId xmlns:a16="http://schemas.microsoft.com/office/drawing/2014/main" id="{FD19E155-E8BA-0A25-1130-3006652BFD36}"/>
            </a:ext>
          </a:extLst>
        </p:cNvPr>
        <p:cNvGrpSpPr/>
        <p:nvPr/>
      </p:nvGrpSpPr>
      <p:grpSpPr>
        <a:xfrm>
          <a:off x="0" y="0"/>
          <a:ext cx="0" cy="0"/>
          <a:chOff x="0" y="0"/>
          <a:chExt cx="0" cy="0"/>
        </a:xfrm>
      </p:grpSpPr>
      <p:sp>
        <p:nvSpPr>
          <p:cNvPr id="7" name="Google Shape;187;p35">
            <a:extLst>
              <a:ext uri="{FF2B5EF4-FFF2-40B4-BE49-F238E27FC236}">
                <a16:creationId xmlns:a16="http://schemas.microsoft.com/office/drawing/2014/main" id="{FF2FB21B-64E2-D74F-3051-53A700996DB3}"/>
              </a:ext>
            </a:extLst>
          </p:cNvPr>
          <p:cNvSpPr txBox="1">
            <a:spLocks noGrp="1"/>
          </p:cNvSpPr>
          <p:nvPr>
            <p:ph type="title"/>
          </p:nvPr>
        </p:nvSpPr>
        <p:spPr>
          <a:xfrm>
            <a:off x="1028700" y="-26300"/>
            <a:ext cx="8115300" cy="682422"/>
          </a:xfrm>
          <a:prstGeom prst="rect">
            <a:avLst/>
          </a:prstGeom>
        </p:spPr>
        <p:txBody>
          <a:bodyPr spcFirstLastPara="1" vert="horz" lIns="91440" tIns="45720" rIns="91440" bIns="45720" rtlCol="0" anchor="b" anchorCtr="0">
            <a:normAutofit/>
          </a:bodyPr>
          <a:lstStyle/>
          <a:p>
            <a:pPr marL="0" lvl="0" indent="0" algn="l" defTabSz="914400">
              <a:spcBef>
                <a:spcPct val="0"/>
              </a:spcBef>
              <a:spcAft>
                <a:spcPts val="0"/>
              </a:spcAft>
            </a:pPr>
            <a:r>
              <a:rPr lang="en-GB" sz="2600" dirty="0">
                <a:solidFill>
                  <a:srgbClr val="000000"/>
                </a:solidFill>
                <a:effectLst/>
                <a:latin typeface="Corbel" panose="020B0503020204020204" pitchFamily="34" charset="0"/>
              </a:rPr>
              <a:t>Required Fields – Standard Tax Electronic Invoice</a:t>
            </a:r>
            <a:endParaRPr lang="en-US" sz="2600" dirty="0">
              <a:latin typeface="+mj-lt"/>
              <a:ea typeface="+mj-ea"/>
              <a:cs typeface="+mj-cs"/>
            </a:endParaRPr>
          </a:p>
        </p:txBody>
      </p:sp>
      <p:pic>
        <p:nvPicPr>
          <p:cNvPr id="2" name="Picture 1">
            <a:extLst>
              <a:ext uri="{FF2B5EF4-FFF2-40B4-BE49-F238E27FC236}">
                <a16:creationId xmlns:a16="http://schemas.microsoft.com/office/drawing/2014/main" id="{47716779-98BC-4A3F-834F-B8EC1FB2E5F5}"/>
              </a:ext>
            </a:extLst>
          </p:cNvPr>
          <p:cNvPicPr>
            <a:picLocks noChangeAspect="1"/>
          </p:cNvPicPr>
          <p:nvPr/>
        </p:nvPicPr>
        <p:blipFill>
          <a:blip r:embed="rId3"/>
          <a:stretch>
            <a:fillRect/>
          </a:stretch>
        </p:blipFill>
        <p:spPr>
          <a:xfrm>
            <a:off x="692580" y="656122"/>
            <a:ext cx="8397175" cy="4378271"/>
          </a:xfrm>
          <a:prstGeom prst="rect">
            <a:avLst/>
          </a:prstGeom>
        </p:spPr>
      </p:pic>
    </p:spTree>
    <p:extLst>
      <p:ext uri="{BB962C8B-B14F-4D97-AF65-F5344CB8AC3E}">
        <p14:creationId xmlns:p14="http://schemas.microsoft.com/office/powerpoint/2010/main" val="1910176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8000">
              <a:srgbClr val="FFC000"/>
            </a:gs>
            <a:gs pos="100000">
              <a:schemeClr val="accent3">
                <a:lumMod val="45000"/>
                <a:lumOff val="55000"/>
              </a:schemeClr>
            </a:gs>
            <a:gs pos="83000">
              <a:schemeClr val="accent3">
                <a:lumMod val="45000"/>
                <a:lumOff val="55000"/>
              </a:schemeClr>
            </a:gs>
            <a:gs pos="100000">
              <a:schemeClr val="accent3">
                <a:lumMod val="30000"/>
                <a:lumOff val="70000"/>
              </a:schemeClr>
            </a:gs>
          </a:gsLst>
          <a:lin ang="5400000" scaled="1"/>
        </a:gradFill>
        <a:effectLst/>
      </p:bgPr>
    </p:bg>
    <p:spTree>
      <p:nvGrpSpPr>
        <p:cNvPr id="1" name="Shape 156">
          <a:extLst>
            <a:ext uri="{FF2B5EF4-FFF2-40B4-BE49-F238E27FC236}">
              <a16:creationId xmlns:a16="http://schemas.microsoft.com/office/drawing/2014/main" id="{7FD89924-B69F-CBB8-2089-F08D8039D873}"/>
            </a:ext>
          </a:extLst>
        </p:cNvPr>
        <p:cNvGrpSpPr/>
        <p:nvPr/>
      </p:nvGrpSpPr>
      <p:grpSpPr>
        <a:xfrm>
          <a:off x="0" y="0"/>
          <a:ext cx="0" cy="0"/>
          <a:chOff x="0" y="0"/>
          <a:chExt cx="0" cy="0"/>
        </a:xfrm>
      </p:grpSpPr>
      <p:sp>
        <p:nvSpPr>
          <p:cNvPr id="7" name="Google Shape;187;p35">
            <a:extLst>
              <a:ext uri="{FF2B5EF4-FFF2-40B4-BE49-F238E27FC236}">
                <a16:creationId xmlns:a16="http://schemas.microsoft.com/office/drawing/2014/main" id="{671A7CC1-E62C-F6AE-BE0C-F40A3B02DFE2}"/>
              </a:ext>
            </a:extLst>
          </p:cNvPr>
          <p:cNvSpPr txBox="1">
            <a:spLocks noGrp="1"/>
          </p:cNvSpPr>
          <p:nvPr>
            <p:ph type="title"/>
          </p:nvPr>
        </p:nvSpPr>
        <p:spPr>
          <a:xfrm>
            <a:off x="2171700" y="573279"/>
            <a:ext cx="6457950" cy="969771"/>
          </a:xfrm>
          <a:prstGeom prst="rect">
            <a:avLst/>
          </a:prstGeom>
        </p:spPr>
        <p:txBody>
          <a:bodyPr spcFirstLastPara="1" vert="horz" lIns="91440" tIns="45720" rIns="91440" bIns="45720" rtlCol="0" anchor="ctr" anchorCtr="0">
            <a:normAutofit/>
          </a:bodyPr>
          <a:lstStyle/>
          <a:p>
            <a:pPr marL="0" lvl="0" indent="0" defTabSz="914400">
              <a:spcBef>
                <a:spcPct val="0"/>
              </a:spcBef>
              <a:spcAft>
                <a:spcPts val="0"/>
              </a:spcAft>
            </a:pPr>
            <a:r>
              <a:rPr lang="en-US" sz="3100">
                <a:latin typeface="+mj-lt"/>
                <a:ea typeface="+mj-ea"/>
                <a:cs typeface="+mj-cs"/>
              </a:rPr>
              <a:t>Stages of e-invoicing implementation</a:t>
            </a:r>
          </a:p>
        </p:txBody>
      </p:sp>
      <p:graphicFrame>
        <p:nvGraphicFramePr>
          <p:cNvPr id="4" name="Diagram 3">
            <a:extLst>
              <a:ext uri="{FF2B5EF4-FFF2-40B4-BE49-F238E27FC236}">
                <a16:creationId xmlns:a16="http://schemas.microsoft.com/office/drawing/2014/main" id="{DC40D58E-222D-DEF2-EACE-61C3E1D65E57}"/>
              </a:ext>
            </a:extLst>
          </p:cNvPr>
          <p:cNvGraphicFramePr/>
          <p:nvPr>
            <p:extLst>
              <p:ext uri="{D42A27DB-BD31-4B8C-83A1-F6EECF244321}">
                <p14:modId xmlns:p14="http://schemas.microsoft.com/office/powerpoint/2010/main" val="3274494188"/>
              </p:ext>
            </p:extLst>
          </p:nvPr>
        </p:nvGraphicFramePr>
        <p:xfrm>
          <a:off x="514350" y="1543050"/>
          <a:ext cx="8115300" cy="30986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08756095"/>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2000">
        <p15:prstTrans prst="drape"/>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8000">
              <a:srgbClr val="FFC000"/>
            </a:gs>
            <a:gs pos="100000">
              <a:schemeClr val="accent3">
                <a:lumMod val="45000"/>
                <a:lumOff val="55000"/>
              </a:schemeClr>
            </a:gs>
            <a:gs pos="83000">
              <a:schemeClr val="accent3">
                <a:lumMod val="45000"/>
                <a:lumOff val="55000"/>
              </a:schemeClr>
            </a:gs>
            <a:gs pos="100000">
              <a:schemeClr val="accent3">
                <a:lumMod val="30000"/>
                <a:lumOff val="70000"/>
              </a:schemeClr>
            </a:gs>
          </a:gsLst>
          <a:lin ang="5400000" scaled="1"/>
        </a:gradFill>
        <a:effectLst/>
      </p:bgPr>
    </p:bg>
    <p:spTree>
      <p:nvGrpSpPr>
        <p:cNvPr id="1" name="Shape 156">
          <a:extLst>
            <a:ext uri="{FF2B5EF4-FFF2-40B4-BE49-F238E27FC236}">
              <a16:creationId xmlns:a16="http://schemas.microsoft.com/office/drawing/2014/main" id="{95595658-E343-EAC6-B203-71F14F180357}"/>
            </a:ext>
          </a:extLst>
        </p:cNvPr>
        <p:cNvGrpSpPr/>
        <p:nvPr/>
      </p:nvGrpSpPr>
      <p:grpSpPr>
        <a:xfrm>
          <a:off x="0" y="0"/>
          <a:ext cx="0" cy="0"/>
          <a:chOff x="0" y="0"/>
          <a:chExt cx="0" cy="0"/>
        </a:xfrm>
      </p:grpSpPr>
      <p:sp>
        <p:nvSpPr>
          <p:cNvPr id="7" name="Google Shape;187;p35">
            <a:extLst>
              <a:ext uri="{FF2B5EF4-FFF2-40B4-BE49-F238E27FC236}">
                <a16:creationId xmlns:a16="http://schemas.microsoft.com/office/drawing/2014/main" id="{FA9C6387-94D4-CB37-C0D3-E61F2E86944C}"/>
              </a:ext>
            </a:extLst>
          </p:cNvPr>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latin typeface="Anta" pitchFamily="2" charset="0"/>
              </a:rPr>
              <a:t>Approach to ASP selection</a:t>
            </a:r>
            <a:endParaRPr dirty="0">
              <a:latin typeface="Anta" pitchFamily="2" charset="0"/>
            </a:endParaRPr>
          </a:p>
        </p:txBody>
      </p:sp>
      <p:grpSp>
        <p:nvGrpSpPr>
          <p:cNvPr id="10" name="Group 9">
            <a:extLst>
              <a:ext uri="{FF2B5EF4-FFF2-40B4-BE49-F238E27FC236}">
                <a16:creationId xmlns:a16="http://schemas.microsoft.com/office/drawing/2014/main" id="{72AEB02A-8C6C-D771-BF97-4C96330A68EC}"/>
              </a:ext>
            </a:extLst>
          </p:cNvPr>
          <p:cNvGrpSpPr/>
          <p:nvPr/>
        </p:nvGrpSpPr>
        <p:grpSpPr>
          <a:xfrm>
            <a:off x="362707" y="1360722"/>
            <a:ext cx="8337008" cy="2741163"/>
            <a:chOff x="1245140" y="1969851"/>
            <a:chExt cx="10409308" cy="4182277"/>
          </a:xfrm>
        </p:grpSpPr>
        <p:grpSp>
          <p:nvGrpSpPr>
            <p:cNvPr id="11" name="Group 10">
              <a:extLst>
                <a:ext uri="{FF2B5EF4-FFF2-40B4-BE49-F238E27FC236}">
                  <a16:creationId xmlns:a16="http://schemas.microsoft.com/office/drawing/2014/main" id="{4CE44764-D19B-CC9C-5D6A-B0D5DA8AFD39}"/>
                </a:ext>
              </a:extLst>
            </p:cNvPr>
            <p:cNvGrpSpPr/>
            <p:nvPr/>
          </p:nvGrpSpPr>
          <p:grpSpPr>
            <a:xfrm>
              <a:off x="1245140" y="1969851"/>
              <a:ext cx="3858795" cy="914400"/>
              <a:chOff x="1245140" y="1969851"/>
              <a:chExt cx="3638293" cy="914400"/>
            </a:xfrm>
          </p:grpSpPr>
          <p:grpSp>
            <p:nvGrpSpPr>
              <p:cNvPr id="37" name="Group 36">
                <a:extLst>
                  <a:ext uri="{FF2B5EF4-FFF2-40B4-BE49-F238E27FC236}">
                    <a16:creationId xmlns:a16="http://schemas.microsoft.com/office/drawing/2014/main" id="{FDBB952A-1F17-BAC1-DB98-DEE07C8AECC8}"/>
                  </a:ext>
                </a:extLst>
              </p:cNvPr>
              <p:cNvGrpSpPr/>
              <p:nvPr/>
            </p:nvGrpSpPr>
            <p:grpSpPr>
              <a:xfrm>
                <a:off x="1245140" y="1969851"/>
                <a:ext cx="3638293" cy="914400"/>
                <a:chOff x="1245140" y="1969851"/>
                <a:chExt cx="3638293" cy="914400"/>
              </a:xfrm>
            </p:grpSpPr>
            <p:sp>
              <p:nvSpPr>
                <p:cNvPr id="39" name="Rectangle: Rounded Corners 38">
                  <a:extLst>
                    <a:ext uri="{FF2B5EF4-FFF2-40B4-BE49-F238E27FC236}">
                      <a16:creationId xmlns:a16="http://schemas.microsoft.com/office/drawing/2014/main" id="{F6117DDC-433A-5F89-2F32-3FC64EEE5D6C}"/>
                    </a:ext>
                  </a:extLst>
                </p:cNvPr>
                <p:cNvSpPr/>
                <p:nvPr/>
              </p:nvSpPr>
              <p:spPr>
                <a:xfrm>
                  <a:off x="1361869" y="2110902"/>
                  <a:ext cx="3521564" cy="63229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noAutofit/>
                </a:bodyPr>
                <a:lstStyle/>
                <a:p>
                  <a:pPr algn="r"/>
                  <a:r>
                    <a:rPr lang="en-US" sz="1125" b="1" dirty="0">
                      <a:solidFill>
                        <a:schemeClr val="bg2"/>
                      </a:solidFill>
                    </a:rPr>
                    <a:t>Technological Capabilities</a:t>
                  </a:r>
                </a:p>
              </p:txBody>
            </p:sp>
            <p:sp>
              <p:nvSpPr>
                <p:cNvPr id="40" name="Oval 39">
                  <a:extLst>
                    <a:ext uri="{FF2B5EF4-FFF2-40B4-BE49-F238E27FC236}">
                      <a16:creationId xmlns:a16="http://schemas.microsoft.com/office/drawing/2014/main" id="{6CD58395-9381-3480-5F80-BBC33C41D748}"/>
                    </a:ext>
                  </a:extLst>
                </p:cNvPr>
                <p:cNvSpPr/>
                <p:nvPr/>
              </p:nvSpPr>
              <p:spPr>
                <a:xfrm>
                  <a:off x="1245140" y="1969851"/>
                  <a:ext cx="914400" cy="914400"/>
                </a:xfrm>
                <a:prstGeom prst="ellips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b="1" dirty="0">
                    <a:solidFill>
                      <a:schemeClr val="bg1"/>
                    </a:solidFill>
                  </a:endParaRPr>
                </a:p>
              </p:txBody>
            </p:sp>
          </p:grpSp>
          <p:pic>
            <p:nvPicPr>
              <p:cNvPr id="38" name="Picture 2" descr="Computer technology, internet technology, tech, online technology,  innovation technology icon - Download">
                <a:extLst>
                  <a:ext uri="{FF2B5EF4-FFF2-40B4-BE49-F238E27FC236}">
                    <a16:creationId xmlns:a16="http://schemas.microsoft.com/office/drawing/2014/main" id="{9583ED36-4DED-6A1C-9E41-B30DD97B16D5}"/>
                  </a:ext>
                </a:extLst>
              </p:cNvPr>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350574" y="2108521"/>
                <a:ext cx="637061" cy="6370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A0A59E1E-2320-1F3C-894A-370895FEFA7D}"/>
                </a:ext>
              </a:extLst>
            </p:cNvPr>
            <p:cNvGrpSpPr/>
            <p:nvPr/>
          </p:nvGrpSpPr>
          <p:grpSpPr>
            <a:xfrm>
              <a:off x="4820871" y="5237728"/>
              <a:ext cx="3745149" cy="914400"/>
              <a:chOff x="6738025" y="2514600"/>
              <a:chExt cx="3745149" cy="914400"/>
            </a:xfrm>
          </p:grpSpPr>
          <p:grpSp>
            <p:nvGrpSpPr>
              <p:cNvPr id="33" name="Group 32">
                <a:extLst>
                  <a:ext uri="{FF2B5EF4-FFF2-40B4-BE49-F238E27FC236}">
                    <a16:creationId xmlns:a16="http://schemas.microsoft.com/office/drawing/2014/main" id="{A4995528-6123-CE12-395B-B59888FB8E29}"/>
                  </a:ext>
                </a:extLst>
              </p:cNvPr>
              <p:cNvGrpSpPr/>
              <p:nvPr/>
            </p:nvGrpSpPr>
            <p:grpSpPr>
              <a:xfrm>
                <a:off x="6738025" y="2514600"/>
                <a:ext cx="3745149" cy="914400"/>
                <a:chOff x="1245140" y="1969851"/>
                <a:chExt cx="3745149" cy="914400"/>
              </a:xfrm>
            </p:grpSpPr>
            <p:sp>
              <p:nvSpPr>
                <p:cNvPr id="35" name="Rectangle: Rounded Corners 34">
                  <a:extLst>
                    <a:ext uri="{FF2B5EF4-FFF2-40B4-BE49-F238E27FC236}">
                      <a16:creationId xmlns:a16="http://schemas.microsoft.com/office/drawing/2014/main" id="{0F613855-510C-611D-E294-16147E3EFDE2}"/>
                    </a:ext>
                  </a:extLst>
                </p:cNvPr>
                <p:cNvSpPr/>
                <p:nvPr/>
              </p:nvSpPr>
              <p:spPr>
                <a:xfrm>
                  <a:off x="1361870" y="2110902"/>
                  <a:ext cx="3628419" cy="6322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r"/>
                  <a:r>
                    <a:rPr lang="en-US" sz="1125" b="1" dirty="0">
                      <a:solidFill>
                        <a:schemeClr val="bg2"/>
                      </a:solidFill>
                    </a:rPr>
                    <a:t>	Support Model</a:t>
                  </a:r>
                </a:p>
              </p:txBody>
            </p:sp>
            <p:sp>
              <p:nvSpPr>
                <p:cNvPr id="36" name="Oval 35">
                  <a:extLst>
                    <a:ext uri="{FF2B5EF4-FFF2-40B4-BE49-F238E27FC236}">
                      <a16:creationId xmlns:a16="http://schemas.microsoft.com/office/drawing/2014/main" id="{D041DD0A-D736-B98E-EFF2-034691185744}"/>
                    </a:ext>
                  </a:extLst>
                </p:cNvPr>
                <p:cNvSpPr/>
                <p:nvPr/>
              </p:nvSpPr>
              <p:spPr>
                <a:xfrm>
                  <a:off x="1245140" y="1969851"/>
                  <a:ext cx="914400" cy="91440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b="1" dirty="0">
                    <a:solidFill>
                      <a:schemeClr val="bg1"/>
                    </a:solidFill>
                  </a:endParaRPr>
                </a:p>
              </p:txBody>
            </p:sp>
          </p:grpSp>
          <p:pic>
            <p:nvPicPr>
              <p:cNvPr id="34" name="Picture 4" descr="Customer services, support, live support, it, call center, helpdesk, tech  support icon - Download">
                <a:extLst>
                  <a:ext uri="{FF2B5EF4-FFF2-40B4-BE49-F238E27FC236}">
                    <a16:creationId xmlns:a16="http://schemas.microsoft.com/office/drawing/2014/main" id="{82C8ED1F-3B85-AC30-F1BB-5172E8BFCD2A}"/>
                  </a:ext>
                </a:extLst>
              </p:cNvPr>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artisticGlowEdges/>
                        </a14:imgEffect>
                      </a14:imgLayer>
                    </a14:imgProps>
                  </a:ext>
                  <a:ext uri="{28A0092B-C50C-407E-A947-70E740481C1C}">
                    <a14:useLocalDpi xmlns:a14="http://schemas.microsoft.com/office/drawing/2010/main" val="0"/>
                  </a:ext>
                </a:extLst>
              </a:blip>
              <a:srcRect/>
              <a:stretch>
                <a:fillRect/>
              </a:stretch>
            </p:blipFill>
            <p:spPr bwMode="auto">
              <a:xfrm>
                <a:off x="6862764" y="2631971"/>
                <a:ext cx="586837" cy="5868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3E730ADF-CC2D-89EB-9803-8E14E99B4998}"/>
                </a:ext>
              </a:extLst>
            </p:cNvPr>
            <p:cNvGrpSpPr/>
            <p:nvPr/>
          </p:nvGrpSpPr>
          <p:grpSpPr>
            <a:xfrm>
              <a:off x="2889932" y="3595862"/>
              <a:ext cx="3745149" cy="914400"/>
              <a:chOff x="1245140" y="4103454"/>
              <a:chExt cx="3745149" cy="914400"/>
            </a:xfrm>
          </p:grpSpPr>
          <p:grpSp>
            <p:nvGrpSpPr>
              <p:cNvPr id="29" name="Group 28">
                <a:extLst>
                  <a:ext uri="{FF2B5EF4-FFF2-40B4-BE49-F238E27FC236}">
                    <a16:creationId xmlns:a16="http://schemas.microsoft.com/office/drawing/2014/main" id="{A058E243-8747-CA33-DB2D-34CBDE84B1D1}"/>
                  </a:ext>
                </a:extLst>
              </p:cNvPr>
              <p:cNvGrpSpPr/>
              <p:nvPr/>
            </p:nvGrpSpPr>
            <p:grpSpPr>
              <a:xfrm>
                <a:off x="1245140" y="4103454"/>
                <a:ext cx="3745149" cy="914400"/>
                <a:chOff x="1245140" y="1969851"/>
                <a:chExt cx="3745149" cy="914400"/>
              </a:xfrm>
            </p:grpSpPr>
            <p:sp>
              <p:nvSpPr>
                <p:cNvPr id="31" name="Rectangle: Rounded Corners 30">
                  <a:extLst>
                    <a:ext uri="{FF2B5EF4-FFF2-40B4-BE49-F238E27FC236}">
                      <a16:creationId xmlns:a16="http://schemas.microsoft.com/office/drawing/2014/main" id="{C0266BE1-1FDA-1DF6-956F-ABA68FE47755}"/>
                    </a:ext>
                  </a:extLst>
                </p:cNvPr>
                <p:cNvSpPr/>
                <p:nvPr/>
              </p:nvSpPr>
              <p:spPr>
                <a:xfrm>
                  <a:off x="1361870" y="2110902"/>
                  <a:ext cx="3628419" cy="6322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r"/>
                  <a:r>
                    <a:rPr lang="en-US" sz="1125" b="1" dirty="0">
                      <a:solidFill>
                        <a:schemeClr val="bg2"/>
                      </a:solidFill>
                    </a:rPr>
                    <a:t>	Data Security</a:t>
                  </a:r>
                </a:p>
              </p:txBody>
            </p:sp>
            <p:sp>
              <p:nvSpPr>
                <p:cNvPr id="32" name="Oval 31">
                  <a:extLst>
                    <a:ext uri="{FF2B5EF4-FFF2-40B4-BE49-F238E27FC236}">
                      <a16:creationId xmlns:a16="http://schemas.microsoft.com/office/drawing/2014/main" id="{7FC5D5E4-FAB3-0374-0528-D62867DF88B6}"/>
                    </a:ext>
                  </a:extLst>
                </p:cNvPr>
                <p:cNvSpPr/>
                <p:nvPr/>
              </p:nvSpPr>
              <p:spPr>
                <a:xfrm>
                  <a:off x="1245140" y="1969851"/>
                  <a:ext cx="914400" cy="9144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b="1" dirty="0">
                    <a:solidFill>
                      <a:schemeClr val="bg1"/>
                    </a:solidFill>
                  </a:endParaRPr>
                </a:p>
              </p:txBody>
            </p:sp>
          </p:grpSp>
          <p:pic>
            <p:nvPicPr>
              <p:cNvPr id="30" name="Picture 8" descr="Network security Icon of Glyph style - Available in SVG, PNG, EPS, AI &amp; Icon  fonts">
                <a:extLst>
                  <a:ext uri="{FF2B5EF4-FFF2-40B4-BE49-F238E27FC236}">
                    <a16:creationId xmlns:a16="http://schemas.microsoft.com/office/drawing/2014/main" id="{1A40939D-44A9-ED51-9F5D-1160DC0C19DC}"/>
                  </a:ext>
                </a:extLst>
              </p:cNvPr>
              <p:cNvPicPr>
                <a:picLocks noChangeAspect="1" noChangeArrowheads="1"/>
              </p:cNvPicPr>
              <p:nvPr/>
            </p:nvPicPr>
            <p:blipFill>
              <a:blip r:embed="rId7" cstate="print">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368945" y="4238080"/>
                <a:ext cx="636346" cy="6363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9135F872-BB7F-B8FB-E1A8-45EC55A864D5}"/>
                </a:ext>
              </a:extLst>
            </p:cNvPr>
            <p:cNvGrpSpPr/>
            <p:nvPr/>
          </p:nvGrpSpPr>
          <p:grpSpPr>
            <a:xfrm>
              <a:off x="3804332" y="4431750"/>
              <a:ext cx="3745149" cy="914400"/>
              <a:chOff x="1245140" y="5231054"/>
              <a:chExt cx="3745149" cy="914400"/>
            </a:xfrm>
          </p:grpSpPr>
          <p:grpSp>
            <p:nvGrpSpPr>
              <p:cNvPr id="25" name="Group 24">
                <a:extLst>
                  <a:ext uri="{FF2B5EF4-FFF2-40B4-BE49-F238E27FC236}">
                    <a16:creationId xmlns:a16="http://schemas.microsoft.com/office/drawing/2014/main" id="{2A7CA871-A899-6638-6EC7-1087757D8B5E}"/>
                  </a:ext>
                </a:extLst>
              </p:cNvPr>
              <p:cNvGrpSpPr/>
              <p:nvPr/>
            </p:nvGrpSpPr>
            <p:grpSpPr>
              <a:xfrm>
                <a:off x="1245140" y="5231054"/>
                <a:ext cx="3745149" cy="914400"/>
                <a:chOff x="1245140" y="1969851"/>
                <a:chExt cx="3745149" cy="914400"/>
              </a:xfrm>
            </p:grpSpPr>
            <p:sp>
              <p:nvSpPr>
                <p:cNvPr id="27" name="Rectangle: Rounded Corners 26">
                  <a:extLst>
                    <a:ext uri="{FF2B5EF4-FFF2-40B4-BE49-F238E27FC236}">
                      <a16:creationId xmlns:a16="http://schemas.microsoft.com/office/drawing/2014/main" id="{83758117-8956-D04B-DDDC-4442AC9ED005}"/>
                    </a:ext>
                  </a:extLst>
                </p:cNvPr>
                <p:cNvSpPr/>
                <p:nvPr/>
              </p:nvSpPr>
              <p:spPr>
                <a:xfrm>
                  <a:off x="1361870" y="2110902"/>
                  <a:ext cx="3628419" cy="6322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r"/>
                  <a:r>
                    <a:rPr lang="en-US" sz="1125" b="1" dirty="0">
                      <a:solidFill>
                        <a:schemeClr val="bg2"/>
                      </a:solidFill>
                    </a:rPr>
                    <a:t>	Knowledge &amp; Expertise</a:t>
                  </a:r>
                </a:p>
              </p:txBody>
            </p:sp>
            <p:sp>
              <p:nvSpPr>
                <p:cNvPr id="28" name="Oval 27">
                  <a:extLst>
                    <a:ext uri="{FF2B5EF4-FFF2-40B4-BE49-F238E27FC236}">
                      <a16:creationId xmlns:a16="http://schemas.microsoft.com/office/drawing/2014/main" id="{12F07639-30DD-18AF-CC2B-46E9CB206C70}"/>
                    </a:ext>
                  </a:extLst>
                </p:cNvPr>
                <p:cNvSpPr/>
                <p:nvPr/>
              </p:nvSpPr>
              <p:spPr>
                <a:xfrm>
                  <a:off x="1245140" y="1969851"/>
                  <a:ext cx="914400" cy="914400"/>
                </a:xfrm>
                <a:prstGeom prst="ellips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b="1" dirty="0">
                    <a:solidFill>
                      <a:schemeClr val="bg1"/>
                    </a:solidFill>
                  </a:endParaRPr>
                </a:p>
              </p:txBody>
            </p:sp>
          </p:grpSp>
          <p:pic>
            <p:nvPicPr>
              <p:cNvPr id="26" name="Picture 18" descr="Knowledge Management Icons - Download Free Vector Icons | Noun Project">
                <a:extLst>
                  <a:ext uri="{FF2B5EF4-FFF2-40B4-BE49-F238E27FC236}">
                    <a16:creationId xmlns:a16="http://schemas.microsoft.com/office/drawing/2014/main" id="{019A0443-7C69-0527-6751-DA24C76DAD71}"/>
                  </a:ext>
                </a:extLst>
              </p:cNvPr>
              <p:cNvPicPr>
                <a:picLocks noChangeAspect="1" noChangeArrowheads="1"/>
              </p:cNvPicPr>
              <p:nvPr/>
            </p:nvPicPr>
            <p:blipFill>
              <a:blip r:embed="rId9" cstate="print">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356865" y="5350678"/>
                <a:ext cx="663383" cy="6633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8A5D0314-84C2-8594-A7BC-7D72AFA30C51}"/>
                </a:ext>
              </a:extLst>
            </p:cNvPr>
            <p:cNvGrpSpPr/>
            <p:nvPr/>
          </p:nvGrpSpPr>
          <p:grpSpPr>
            <a:xfrm>
              <a:off x="2090119" y="2775831"/>
              <a:ext cx="3745149" cy="914400"/>
              <a:chOff x="1245140" y="2975854"/>
              <a:chExt cx="3745149" cy="914400"/>
            </a:xfrm>
          </p:grpSpPr>
          <p:grpSp>
            <p:nvGrpSpPr>
              <p:cNvPr id="21" name="Group 20">
                <a:extLst>
                  <a:ext uri="{FF2B5EF4-FFF2-40B4-BE49-F238E27FC236}">
                    <a16:creationId xmlns:a16="http://schemas.microsoft.com/office/drawing/2014/main" id="{F8517A36-B974-06EA-9675-E687A0312BB4}"/>
                  </a:ext>
                </a:extLst>
              </p:cNvPr>
              <p:cNvGrpSpPr/>
              <p:nvPr/>
            </p:nvGrpSpPr>
            <p:grpSpPr>
              <a:xfrm>
                <a:off x="1245140" y="2975854"/>
                <a:ext cx="3745149" cy="914400"/>
                <a:chOff x="1245140" y="1969851"/>
                <a:chExt cx="3745149" cy="914400"/>
              </a:xfrm>
            </p:grpSpPr>
            <p:sp>
              <p:nvSpPr>
                <p:cNvPr id="23" name="Rectangle: Rounded Corners 22">
                  <a:extLst>
                    <a:ext uri="{FF2B5EF4-FFF2-40B4-BE49-F238E27FC236}">
                      <a16:creationId xmlns:a16="http://schemas.microsoft.com/office/drawing/2014/main" id="{4557B769-DBA6-4896-A9AD-F68860368CA1}"/>
                    </a:ext>
                  </a:extLst>
                </p:cNvPr>
                <p:cNvSpPr/>
                <p:nvPr/>
              </p:nvSpPr>
              <p:spPr>
                <a:xfrm>
                  <a:off x="1361870" y="2110902"/>
                  <a:ext cx="3628419" cy="6322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r"/>
                  <a:r>
                    <a:rPr lang="en-US" sz="1125" b="1" dirty="0">
                      <a:solidFill>
                        <a:srgbClr val="E6E8FF"/>
                      </a:solidFill>
                    </a:rPr>
                    <a:t>	</a:t>
                  </a:r>
                  <a:r>
                    <a:rPr lang="en-US" sz="1125" b="1" dirty="0">
                      <a:solidFill>
                        <a:schemeClr val="bg2"/>
                      </a:solidFill>
                    </a:rPr>
                    <a:t>Operability Model</a:t>
                  </a:r>
                </a:p>
              </p:txBody>
            </p:sp>
            <p:sp>
              <p:nvSpPr>
                <p:cNvPr id="24" name="Oval 23">
                  <a:extLst>
                    <a:ext uri="{FF2B5EF4-FFF2-40B4-BE49-F238E27FC236}">
                      <a16:creationId xmlns:a16="http://schemas.microsoft.com/office/drawing/2014/main" id="{39F6903B-5EF3-2575-FB93-5758DE41CBF0}"/>
                    </a:ext>
                  </a:extLst>
                </p:cNvPr>
                <p:cNvSpPr/>
                <p:nvPr/>
              </p:nvSpPr>
              <p:spPr>
                <a:xfrm>
                  <a:off x="1245140" y="1969851"/>
                  <a:ext cx="914400" cy="91440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b="1" dirty="0">
                    <a:solidFill>
                      <a:schemeClr val="bg1"/>
                    </a:solidFill>
                  </a:endParaRPr>
                </a:p>
              </p:txBody>
            </p:sp>
          </p:grpSp>
          <p:pic>
            <p:nvPicPr>
              <p:cNvPr id="22" name="Picture 20" descr="Operation Icon of Glyph style - Available in SVG, PNG, EPS, AI &amp; Icon fonts">
                <a:extLst>
                  <a:ext uri="{FF2B5EF4-FFF2-40B4-BE49-F238E27FC236}">
                    <a16:creationId xmlns:a16="http://schemas.microsoft.com/office/drawing/2014/main" id="{FDE33808-6DAB-7357-BFA6-2432B3268224}"/>
                  </a:ext>
                </a:extLst>
              </p:cNvPr>
              <p:cNvPicPr>
                <a:picLocks noChangeAspect="1" noChangeArrowheads="1"/>
              </p:cNvPicPr>
              <p:nvPr/>
            </p:nvPicPr>
            <p:blipFill>
              <a:blip r:embed="rId11" cstate="print">
                <a:lum bright="70000" contrast="-70000"/>
                <a:extLst>
                  <a:ext uri="{BEBA8EAE-BF5A-486C-A8C5-ECC9F3942E4B}">
                    <a14:imgProps xmlns:a14="http://schemas.microsoft.com/office/drawing/2010/main">
                      <a14:imgLayer r:embed="rId12">
                        <a14:imgEffect>
                          <a14:backgroundRemoval t="4889" b="94667" l="4000" r="95556">
                            <a14:foregroundMark x1="39556" y1="19111" x2="39556" y2="19111"/>
                            <a14:foregroundMark x1="23111" y1="23556" x2="23111" y2="23556"/>
                            <a14:foregroundMark x1="46222" y1="5333" x2="46222" y2="5333"/>
                            <a14:foregroundMark x1="49778" y1="32889" x2="49778" y2="32889"/>
                            <a14:foregroundMark x1="21333" y1="35556" x2="21333" y2="35556"/>
                            <a14:foregroundMark x1="11556" y1="74667" x2="11556" y2="74667"/>
                            <a14:foregroundMark x1="36889" y1="82222" x2="36889" y2="82222"/>
                            <a14:foregroundMark x1="60889" y1="80889" x2="60889" y2="80889"/>
                            <a14:foregroundMark x1="91556" y1="72889" x2="91556" y2="72889"/>
                            <a14:foregroundMark x1="9778" y1="63111" x2="9333" y2="79556"/>
                            <a14:foregroundMark x1="4444" y1="74667" x2="4444" y2="74667"/>
                            <a14:foregroundMark x1="35556" y1="95111" x2="35556" y2="95111"/>
                            <a14:foregroundMark x1="95556" y1="73778" x2="95556" y2="73778"/>
                          </a14:backgroundRemoval>
                        </a14:imgEffect>
                        <a14:imgEffect>
                          <a14:colorTemperature colorTemp="1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359727" y="3072951"/>
                <a:ext cx="685226" cy="68522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TextBox 15">
              <a:extLst>
                <a:ext uri="{FF2B5EF4-FFF2-40B4-BE49-F238E27FC236}">
                  <a16:creationId xmlns:a16="http://schemas.microsoft.com/office/drawing/2014/main" id="{C0F13C1C-63F2-8A8C-2D0A-06C10AF20439}"/>
                </a:ext>
              </a:extLst>
            </p:cNvPr>
            <p:cNvSpPr txBox="1"/>
            <p:nvPr/>
          </p:nvSpPr>
          <p:spPr>
            <a:xfrm>
              <a:off x="5171551" y="2183028"/>
              <a:ext cx="6382274" cy="475756"/>
            </a:xfrm>
            <a:prstGeom prst="rect">
              <a:avLst/>
            </a:prstGeom>
            <a:noFill/>
          </p:spPr>
          <p:txBody>
            <a:bodyPr wrap="square" lIns="40958" tIns="40958" rIns="40958" bIns="40958" rtlCol="0">
              <a:noAutofit/>
            </a:bodyPr>
            <a:lstStyle/>
            <a:p>
              <a:pPr algn="just">
                <a:spcAft>
                  <a:spcPts val="450"/>
                </a:spcAft>
              </a:pPr>
              <a:r>
                <a:rPr lang="en-US" sz="1000" b="1" dirty="0">
                  <a:solidFill>
                    <a:schemeClr val="tx2"/>
                  </a:solidFill>
                </a:rPr>
                <a:t>ASP should demonstrate capabilities to satisfy medium and long-term needs, through a robust infrastructure</a:t>
              </a:r>
            </a:p>
          </p:txBody>
        </p:sp>
        <p:sp>
          <p:nvSpPr>
            <p:cNvPr id="17" name="TextBox 16">
              <a:extLst>
                <a:ext uri="{FF2B5EF4-FFF2-40B4-BE49-F238E27FC236}">
                  <a16:creationId xmlns:a16="http://schemas.microsoft.com/office/drawing/2014/main" id="{B1C2265B-99A9-3521-9BBB-0F0BA07117BF}"/>
                </a:ext>
              </a:extLst>
            </p:cNvPr>
            <p:cNvSpPr txBox="1"/>
            <p:nvPr/>
          </p:nvSpPr>
          <p:spPr>
            <a:xfrm>
              <a:off x="5965230" y="3003576"/>
              <a:ext cx="5588595" cy="475756"/>
            </a:xfrm>
            <a:prstGeom prst="rect">
              <a:avLst/>
            </a:prstGeom>
            <a:noFill/>
          </p:spPr>
          <p:txBody>
            <a:bodyPr wrap="square" lIns="40958" tIns="40958" rIns="40958" bIns="40958" rtlCol="0">
              <a:noAutofit/>
            </a:bodyPr>
            <a:lstStyle/>
            <a:p>
              <a:pPr algn="just">
                <a:spcAft>
                  <a:spcPts val="450"/>
                </a:spcAft>
              </a:pPr>
              <a:r>
                <a:rPr lang="en-US" sz="1000" b="1" dirty="0">
                  <a:solidFill>
                    <a:schemeClr val="tx2"/>
                  </a:solidFill>
                </a:rPr>
                <a:t>ASP should be able to adapt to the different systems, transform data into the different formats &amp; comply with local requirements (content &amp; structure)</a:t>
              </a:r>
            </a:p>
          </p:txBody>
        </p:sp>
        <p:sp>
          <p:nvSpPr>
            <p:cNvPr id="18" name="TextBox 17">
              <a:extLst>
                <a:ext uri="{FF2B5EF4-FFF2-40B4-BE49-F238E27FC236}">
                  <a16:creationId xmlns:a16="http://schemas.microsoft.com/office/drawing/2014/main" id="{086EAB55-DE7D-07A0-74A8-FB447225F3AD}"/>
                </a:ext>
              </a:extLst>
            </p:cNvPr>
            <p:cNvSpPr txBox="1"/>
            <p:nvPr/>
          </p:nvSpPr>
          <p:spPr>
            <a:xfrm>
              <a:off x="6670732" y="3786586"/>
              <a:ext cx="4883094" cy="580246"/>
            </a:xfrm>
            <a:prstGeom prst="rect">
              <a:avLst/>
            </a:prstGeom>
            <a:noFill/>
          </p:spPr>
          <p:txBody>
            <a:bodyPr wrap="square" lIns="40958" tIns="40958" rIns="40958" bIns="40958" rtlCol="0">
              <a:noAutofit/>
            </a:bodyPr>
            <a:lstStyle/>
            <a:p>
              <a:pPr algn="just">
                <a:spcAft>
                  <a:spcPts val="450"/>
                </a:spcAft>
              </a:pPr>
              <a:r>
                <a:rPr lang="en-US" sz="1000" b="1" dirty="0">
                  <a:solidFill>
                    <a:schemeClr val="tx2"/>
                  </a:solidFill>
                </a:rPr>
                <a:t>ASP should demonstrate capabilities to safely manage &amp; store client confidential data</a:t>
              </a:r>
            </a:p>
            <a:p>
              <a:pPr>
                <a:spcAft>
                  <a:spcPts val="450"/>
                </a:spcAft>
              </a:pPr>
              <a:endParaRPr lang="en-US" sz="900" dirty="0">
                <a:solidFill>
                  <a:schemeClr val="tx2"/>
                </a:solidFill>
              </a:endParaRPr>
            </a:p>
          </p:txBody>
        </p:sp>
        <p:sp>
          <p:nvSpPr>
            <p:cNvPr id="19" name="TextBox 18">
              <a:extLst>
                <a:ext uri="{FF2B5EF4-FFF2-40B4-BE49-F238E27FC236}">
                  <a16:creationId xmlns:a16="http://schemas.microsoft.com/office/drawing/2014/main" id="{ABBC07B6-ABAE-2A9C-F6A3-ECFEEDB670FC}"/>
                </a:ext>
              </a:extLst>
            </p:cNvPr>
            <p:cNvSpPr txBox="1"/>
            <p:nvPr/>
          </p:nvSpPr>
          <p:spPr>
            <a:xfrm>
              <a:off x="7549481" y="4578512"/>
              <a:ext cx="4104967" cy="475756"/>
            </a:xfrm>
            <a:prstGeom prst="rect">
              <a:avLst/>
            </a:prstGeom>
            <a:noFill/>
          </p:spPr>
          <p:txBody>
            <a:bodyPr wrap="square" lIns="40958" tIns="40958" rIns="40958" bIns="40958" rtlCol="0">
              <a:noAutofit/>
            </a:bodyPr>
            <a:lstStyle/>
            <a:p>
              <a:pPr algn="just">
                <a:spcAft>
                  <a:spcPts val="450"/>
                </a:spcAft>
              </a:pPr>
              <a:r>
                <a:rPr lang="en-US" sz="1000" b="1" dirty="0">
                  <a:solidFill>
                    <a:schemeClr val="tx2"/>
                  </a:solidFill>
                </a:rPr>
                <a:t>ASP should demonstrate knowledge &amp; expertise in supporting different clients among various jurisdictions successfully</a:t>
              </a:r>
            </a:p>
          </p:txBody>
        </p:sp>
        <p:sp>
          <p:nvSpPr>
            <p:cNvPr id="20" name="TextBox 19">
              <a:extLst>
                <a:ext uri="{FF2B5EF4-FFF2-40B4-BE49-F238E27FC236}">
                  <a16:creationId xmlns:a16="http://schemas.microsoft.com/office/drawing/2014/main" id="{F45D1509-1D8C-341C-F263-6259285C9D3A}"/>
                </a:ext>
              </a:extLst>
            </p:cNvPr>
            <p:cNvSpPr txBox="1"/>
            <p:nvPr/>
          </p:nvSpPr>
          <p:spPr>
            <a:xfrm>
              <a:off x="8574029" y="5367969"/>
              <a:ext cx="3080419" cy="475756"/>
            </a:xfrm>
            <a:prstGeom prst="rect">
              <a:avLst/>
            </a:prstGeom>
            <a:noFill/>
          </p:spPr>
          <p:txBody>
            <a:bodyPr wrap="square" lIns="40958" tIns="40958" rIns="40958" bIns="40958" rtlCol="0">
              <a:noAutofit/>
            </a:bodyPr>
            <a:lstStyle/>
            <a:p>
              <a:pPr algn="just">
                <a:spcAft>
                  <a:spcPts val="450"/>
                </a:spcAft>
              </a:pPr>
              <a:r>
                <a:rPr lang="en-US" sz="900" b="1" dirty="0">
                  <a:solidFill>
                    <a:schemeClr val="tx2"/>
                  </a:solidFill>
                </a:rPr>
                <a:t>ASP should provide a robust support model, being capable to assist the client with technological &amp; tax technical matters</a:t>
              </a:r>
            </a:p>
          </p:txBody>
        </p:sp>
      </p:grpSp>
    </p:spTree>
    <p:extLst>
      <p:ext uri="{BB962C8B-B14F-4D97-AF65-F5344CB8AC3E}">
        <p14:creationId xmlns:p14="http://schemas.microsoft.com/office/powerpoint/2010/main" val="904743354"/>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6000">
        <p15:prstTrans prst="curtains"/>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EBA903"/>
            </a:gs>
            <a:gs pos="100000">
              <a:schemeClr val="accent2">
                <a:lumMod val="97000"/>
                <a:lumOff val="3000"/>
              </a:schemeClr>
            </a:gs>
            <a:gs pos="100000">
              <a:schemeClr val="accent2">
                <a:lumMod val="60000"/>
                <a:lumOff val="40000"/>
              </a:schemeClr>
            </a:gs>
          </a:gsLst>
          <a:lin ang="16200000" scaled="1"/>
        </a:gradFill>
        <a:effectLst/>
      </p:bgPr>
    </p:bg>
    <p:spTree>
      <p:nvGrpSpPr>
        <p:cNvPr id="1" name="Shape 156">
          <a:extLst>
            <a:ext uri="{FF2B5EF4-FFF2-40B4-BE49-F238E27FC236}">
              <a16:creationId xmlns:a16="http://schemas.microsoft.com/office/drawing/2014/main" id="{AC9A8620-8810-8805-7F91-8DE1AA183EFC}"/>
            </a:ext>
          </a:extLst>
        </p:cNvPr>
        <p:cNvGrpSpPr/>
        <p:nvPr/>
      </p:nvGrpSpPr>
      <p:grpSpPr>
        <a:xfrm>
          <a:off x="0" y="0"/>
          <a:ext cx="0" cy="0"/>
          <a:chOff x="0" y="0"/>
          <a:chExt cx="0" cy="0"/>
        </a:xfrm>
      </p:grpSpPr>
      <p:sp>
        <p:nvSpPr>
          <p:cNvPr id="7" name="Google Shape;187;p35">
            <a:extLst>
              <a:ext uri="{FF2B5EF4-FFF2-40B4-BE49-F238E27FC236}">
                <a16:creationId xmlns:a16="http://schemas.microsoft.com/office/drawing/2014/main" id="{446CB2A1-8994-40DE-A84F-D141D3EAFC5B}"/>
              </a:ext>
            </a:extLst>
          </p:cNvPr>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latin typeface="Anta" pitchFamily="2" charset="0"/>
              </a:rPr>
              <a:t>Key implementation challenges</a:t>
            </a:r>
            <a:endParaRPr dirty="0">
              <a:latin typeface="Anta" pitchFamily="2" charset="0"/>
            </a:endParaRPr>
          </a:p>
        </p:txBody>
      </p:sp>
      <p:graphicFrame>
        <p:nvGraphicFramePr>
          <p:cNvPr id="61" name="Diagram 60">
            <a:extLst>
              <a:ext uri="{FF2B5EF4-FFF2-40B4-BE49-F238E27FC236}">
                <a16:creationId xmlns:a16="http://schemas.microsoft.com/office/drawing/2014/main" id="{14E6BCD5-8900-22C6-142E-CCA449449508}"/>
              </a:ext>
            </a:extLst>
          </p:cNvPr>
          <p:cNvGraphicFramePr/>
          <p:nvPr>
            <p:extLst>
              <p:ext uri="{D42A27DB-BD31-4B8C-83A1-F6EECF244321}">
                <p14:modId xmlns:p14="http://schemas.microsoft.com/office/powerpoint/2010/main" val="3353060053"/>
              </p:ext>
            </p:extLst>
          </p:nvPr>
        </p:nvGraphicFramePr>
        <p:xfrm>
          <a:off x="1144963" y="731375"/>
          <a:ext cx="7279037" cy="34586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058143"/>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2000">
        <p15:prstTrans prst="fallOver"/>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ADV_COPYRIGHT" val="TRUE"/>
</p:tagLst>
</file>

<file path=ppt/tags/tag8.xml><?xml version="1.0" encoding="utf-8"?>
<p:tagLst xmlns:a="http://schemas.openxmlformats.org/drawingml/2006/main" xmlns:r="http://schemas.openxmlformats.org/officeDocument/2006/relationships" xmlns:p="http://schemas.openxmlformats.org/presentationml/2006/main">
  <p:tag name="ADV_COPYRIGHT"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arallax">
  <a:themeElements>
    <a:clrScheme name="Parallax">
      <a:dk1>
        <a:sysClr val="windowText" lastClr="000000"/>
      </a:dk1>
      <a:lt1>
        <a:sysClr val="window" lastClr="FFFFFF"/>
      </a:lt1>
      <a:dk2>
        <a:srgbClr val="212121"/>
      </a:dk2>
      <a:lt2>
        <a:srgbClr val="CDD0D1"/>
      </a:lt2>
      <a:accent1>
        <a:srgbClr val="EB8F22"/>
      </a:accent1>
      <a:accent2>
        <a:srgbClr val="CD4223"/>
      </a:accent2>
      <a:accent3>
        <a:srgbClr val="A89374"/>
      </a:accent3>
      <a:accent4>
        <a:srgbClr val="83AA67"/>
      </a:accent4>
      <a:accent5>
        <a:srgbClr val="4FA9C1"/>
      </a:accent5>
      <a:accent6>
        <a:srgbClr val="9390AF"/>
      </a:accent6>
      <a:hlink>
        <a:srgbClr val="EC7220"/>
      </a:hlink>
      <a:folHlink>
        <a:srgbClr val="F09355"/>
      </a:folHlink>
    </a:clrScheme>
    <a:fontScheme name="Parallax">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rallax">
      <a:fillStyleLst>
        <a:solidFill>
          <a:schemeClr val="phClr"/>
        </a:solidFill>
        <a:gradFill rotWithShape="1">
          <a:gsLst>
            <a:gs pos="0">
              <a:schemeClr val="phClr">
                <a:tint val="60000"/>
                <a:lumMod val="104000"/>
              </a:schemeClr>
            </a:gs>
            <a:gs pos="100000">
              <a:schemeClr val="phClr">
                <a:tint val="84000"/>
              </a:schemeClr>
            </a:gs>
          </a:gsLst>
          <a:lin ang="5400000" scaled="0"/>
        </a:gradFill>
        <a:gradFill rotWithShape="1">
          <a:gsLst>
            <a:gs pos="0">
              <a:schemeClr val="phClr">
                <a:tint val="96000"/>
                <a:lumMod val="102000"/>
              </a:schemeClr>
            </a:gs>
            <a:gs pos="100000">
              <a:schemeClr val="phClr">
                <a:shade val="88000"/>
                <a:lumMod val="94000"/>
              </a:schemeClr>
            </a:gs>
          </a:gsLst>
          <a:path path="circle">
            <a:fillToRect l="50000" t="100000" r="100000" b="50000"/>
          </a:path>
        </a:gradFill>
      </a:fillStyleLst>
      <a:lnStyleLst>
        <a:ln w="9525" cap="rnd" cmpd="sng" algn="ctr">
          <a:solidFill>
            <a:schemeClr val="phClr">
              <a:tint val="6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reflection blurRad="12700" stA="26000" endPos="32000" dist="12700" dir="5400000" sy="-100000" rotWithShape="0"/>
          </a:effectLst>
        </a:effectStyle>
        <a:effectStyle>
          <a:effectLst>
            <a:outerShdw blurRad="38100" dist="25400" dir="5400000" rotWithShape="0">
              <a:srgbClr val="000000">
                <a:alpha val="64000"/>
              </a:srgbClr>
            </a:outerShdw>
          </a:effectLst>
          <a:scene3d>
            <a:camera prst="orthographicFront">
              <a:rot lat="0" lon="0" rev="0"/>
            </a:camera>
            <a:lightRig rig="threePt" dir="tl">
              <a:rot lat="0" lon="0" rev="1200000"/>
            </a:lightRig>
          </a:scene3d>
          <a:sp3d>
            <a:bevelT w="25400" h="12700"/>
          </a:sp3d>
        </a:effectStyle>
      </a:effectStyleLst>
      <a:bgFillStyleLst>
        <a:solidFill>
          <a:schemeClr val="phClr"/>
        </a:solidFill>
        <a:gradFill rotWithShape="1">
          <a:gsLst>
            <a:gs pos="0">
              <a:schemeClr val="phClr">
                <a:tint val="90000"/>
                <a:lumMod val="110000"/>
              </a:schemeClr>
            </a:gs>
            <a:gs pos="100000">
              <a:schemeClr val="phClr">
                <a:shade val="64000"/>
                <a:lumMod val="98000"/>
              </a:schemeClr>
            </a:gs>
          </a:gsLst>
          <a:lin ang="5400000" scaled="0"/>
        </a:gradFill>
        <a:blipFill rotWithShape="1">
          <a:blip xmlns:r="http://schemas.openxmlformats.org/officeDocument/2006/relationships" r:embed="rId1">
            <a:duotone>
              <a:schemeClr val="phClr">
                <a:shade val="76000"/>
                <a:satMod val="180000"/>
              </a:schemeClr>
              <a:schemeClr val="phClr">
                <a:tint val="80000"/>
                <a:satMod val="120000"/>
                <a:lumMod val="180000"/>
              </a:schemeClr>
            </a:duotone>
          </a:blip>
          <a:stretch/>
        </a:blipFill>
      </a:bgFillStyleLst>
    </a:fmtScheme>
  </a:themeElements>
  <a:objectDefaults/>
  <a:extraClrSchemeLst/>
  <a:extLst>
    <a:ext uri="{05A4C25C-085E-4340-85A3-A5531E510DB2}">
      <thm15:themeFamily xmlns:thm15="http://schemas.microsoft.com/office/thememl/2012/main" name="Parallax" id="{3388167B-A2EB-4685-9635-1831D9AEF8C4}" vid="{EBEC8F79-A447-43FC-8E81-85E8468AF3F9}"/>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arallax</Template>
  <TotalTime>62</TotalTime>
  <Words>717</Words>
  <Application>Microsoft Office PowerPoint</Application>
  <PresentationFormat>On-screen Show (16:9)</PresentationFormat>
  <Paragraphs>87</Paragraphs>
  <Slides>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KPMG Bold</vt:lpstr>
      <vt:lpstr>Syne SemiBold</vt:lpstr>
      <vt:lpstr>Arial</vt:lpstr>
      <vt:lpstr>Corbel</vt:lpstr>
      <vt:lpstr>Arial (Body)</vt:lpstr>
      <vt:lpstr>Anta</vt:lpstr>
      <vt:lpstr>Parallax</vt:lpstr>
      <vt:lpstr>think-cell Slide</vt:lpstr>
      <vt:lpstr>UAE E-Invoicing Enablement Building the Operating Model for the UAE Vision 2031</vt:lpstr>
      <vt:lpstr>PowerPoint Presentation</vt:lpstr>
      <vt:lpstr>Quick snapshot</vt:lpstr>
      <vt:lpstr>Required Fields – Standard Tax Electronic Invoice</vt:lpstr>
      <vt:lpstr>Stages of e-invoicing implementation</vt:lpstr>
      <vt:lpstr>Approach to ASP selection</vt:lpstr>
      <vt:lpstr>Key implementation challeng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X Proposal</dc:title>
  <dc:creator>MEHAK</dc:creator>
  <cp:lastModifiedBy>Mohandas Balakrishnan</cp:lastModifiedBy>
  <cp:revision>12</cp:revision>
  <dcterms:modified xsi:type="dcterms:W3CDTF">2026-02-21T06:49:17Z</dcterms:modified>
</cp:coreProperties>
</file>